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134096899" r:id="rId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78" d="100"/>
          <a:sy n="78" d="100"/>
        </p:scale>
        <p:origin x="87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22D715-5D4F-425A-8388-229298A9CCE2}" type="datetimeFigureOut">
              <a:rPr lang="en-US" smtClean="0"/>
              <a:t>4/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3DFD03-E1D5-43AD-AC65-D5977269AEC9}" type="slidenum">
              <a:rPr lang="en-US" smtClean="0"/>
              <a:t>‹#›</a:t>
            </a:fld>
            <a:endParaRPr lang="en-US"/>
          </a:p>
        </p:txBody>
      </p:sp>
    </p:spTree>
    <p:extLst>
      <p:ext uri="{BB962C8B-B14F-4D97-AF65-F5344CB8AC3E}">
        <p14:creationId xmlns:p14="http://schemas.microsoft.com/office/powerpoint/2010/main" val="4070281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96042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380534-757B-4276-B12D-8EC60A992AEC}"/>
              </a:ext>
            </a:extLst>
          </p:cNvPr>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CE210475-51DC-447F-93A3-2E014566EBB6}"/>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8B918FF2-B536-45FB-B3CA-5951580E7944}"/>
              </a:ext>
            </a:extLst>
          </p:cNvPr>
          <p:cNvSpPr txBox="1"/>
          <p:nvPr userDrawn="1"/>
        </p:nvSpPr>
        <p:spPr>
          <a:xfrm>
            <a:off x="0" y="6395103"/>
            <a:ext cx="1109954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a:extLst>
              <a:ext uri="{FF2B5EF4-FFF2-40B4-BE49-F238E27FC236}">
                <a16:creationId xmlns:a16="http://schemas.microsoft.com/office/drawing/2014/main" id="{00D697C6-A77D-43F1-A76B-382E1AB87F63}"/>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latin typeface="IntelOne Text" panose="020B0503020203020204" pitchFamily="34" charset="0"/>
              <a:ea typeface="Helvetica Neue Medium"/>
              <a:cs typeface="Helvetica Neue Medium"/>
              <a:sym typeface="Helvetica Neue Medium"/>
            </a:endParaRPr>
          </a:p>
        </p:txBody>
      </p:sp>
    </p:spTree>
    <p:extLst>
      <p:ext uri="{BB962C8B-B14F-4D97-AF65-F5344CB8AC3E}">
        <p14:creationId xmlns:p14="http://schemas.microsoft.com/office/powerpoint/2010/main" val="210920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380534-757B-4276-B12D-8EC60A992AEC}"/>
              </a:ext>
            </a:extLst>
          </p:cNvPr>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CE210475-51DC-447F-93A3-2E014566EBB6}"/>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8B918FF2-B536-45FB-B3CA-5951580E7944}"/>
              </a:ext>
            </a:extLst>
          </p:cNvPr>
          <p:cNvSpPr txBox="1"/>
          <p:nvPr userDrawn="1"/>
        </p:nvSpPr>
        <p:spPr>
          <a:xfrm>
            <a:off x="0" y="6395103"/>
            <a:ext cx="11099549"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a:extLst>
              <a:ext uri="{FF2B5EF4-FFF2-40B4-BE49-F238E27FC236}">
                <a16:creationId xmlns:a16="http://schemas.microsoft.com/office/drawing/2014/main" id="{00D697C6-A77D-43F1-A76B-382E1AB87F63}"/>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latin typeface="IntelOne Text" panose="020B0503020203020204" pitchFamily="34" charset="0"/>
              <a:ea typeface="Helvetica Neue Medium"/>
              <a:cs typeface="Helvetica Neue Medium"/>
              <a:sym typeface="Helvetica Neue Medium"/>
            </a:endParaRPr>
          </a:p>
        </p:txBody>
      </p:sp>
    </p:spTree>
    <p:extLst>
      <p:ext uri="{BB962C8B-B14F-4D97-AF65-F5344CB8AC3E}">
        <p14:creationId xmlns:p14="http://schemas.microsoft.com/office/powerpoint/2010/main" val="347134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E8FAEE2-3BFE-42F0-A83C-18AD4A768FF0}"/>
              </a:ext>
              <a:ext uri="{C183D7F6-B498-43B3-948B-1728B52AA6E4}">
                <adec:decorative xmlns:adec="http://schemas.microsoft.com/office/drawing/2017/decorative" val="1"/>
              </a:ext>
            </a:extLst>
          </p:cNvPr>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17198EC9-2853-44FC-9A3B-9B2B2A98D72D}"/>
              </a:ext>
            </a:extLst>
          </p:cNvPr>
          <p:cNvSpPr txBox="1"/>
          <p:nvPr userDrawn="1"/>
        </p:nvSpPr>
        <p:spPr>
          <a:xfrm>
            <a:off x="0" y="6395103"/>
            <a:ext cx="11099549"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a:extLst>
              <a:ext uri="{FF2B5EF4-FFF2-40B4-BE49-F238E27FC236}">
                <a16:creationId xmlns:a16="http://schemas.microsoft.com/office/drawing/2014/main" id="{EBB4AA44-07BC-40CA-B87C-EDC803B55E5C}"/>
              </a:ext>
            </a:extLst>
          </p:cNvPr>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extLst>
      <p:ext uri="{BB962C8B-B14F-4D97-AF65-F5344CB8AC3E}">
        <p14:creationId xmlns:p14="http://schemas.microsoft.com/office/powerpoint/2010/main" val="318301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27ABEE-91E1-420E-AD52-066ECB7CBDFC}"/>
              </a:ext>
            </a:extLst>
          </p:cNvPr>
          <p:cNvSpPr/>
          <p:nvPr userDrawn="1"/>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rPr lang="en-US"/>
              <a:t>Body copy Intel One text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a:p>
        </p:txBody>
      </p:sp>
      <p:sp>
        <p:nvSpPr>
          <p:cNvPr id="4" name="Title Text"/>
          <p:cNvSpPr txBox="1">
            <a:spLocks noGrp="1"/>
          </p:cNvSpPr>
          <p:nvPr>
            <p:ph type="title"/>
          </p:nvPr>
        </p:nvSpPr>
        <p:spPr>
          <a:xfrm>
            <a:off x="592916" y="571500"/>
            <a:ext cx="10972801" cy="8836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p>
            <a:r>
              <a:rPr lang="en-US"/>
              <a:t>40pt Intel One Display Light Text Goes Here</a:t>
            </a:r>
            <a:endParaRPr/>
          </a:p>
        </p:txBody>
      </p:sp>
      <p:pic>
        <p:nvPicPr>
          <p:cNvPr id="6" name="Graphic 5">
            <a:extLst>
              <a:ext uri="{FF2B5EF4-FFF2-40B4-BE49-F238E27FC236}">
                <a16:creationId xmlns:a16="http://schemas.microsoft.com/office/drawing/2014/main" id="{DCACDBB0-BD96-446C-8F63-C56E4AA10FBD}"/>
              </a:ext>
            </a:extLst>
          </p:cNvPr>
          <p:cNvPicPr>
            <a:picLocks noChangeAspect="1"/>
          </p:cNvPicPr>
          <p:nvPr userDrawn="1"/>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37466" y="6554735"/>
            <a:ext cx="476084" cy="177524"/>
          </a:xfrm>
          <a:prstGeom prst="rect">
            <a:avLst/>
          </a:prstGeom>
        </p:spPr>
      </p:pic>
      <p:sp>
        <p:nvSpPr>
          <p:cNvPr id="9" name="TextBox 8">
            <a:extLst>
              <a:ext uri="{FF2B5EF4-FFF2-40B4-BE49-F238E27FC236}">
                <a16:creationId xmlns:a16="http://schemas.microsoft.com/office/drawing/2014/main" id="{51520E06-BF98-49FF-91DB-15EBE855DD9E}"/>
              </a:ext>
            </a:extLst>
          </p:cNvPr>
          <p:cNvSpPr txBox="1"/>
          <p:nvPr userDrawn="1"/>
        </p:nvSpPr>
        <p:spPr>
          <a:xfrm>
            <a:off x="11907029" y="6579173"/>
            <a:ext cx="131446"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bg2"/>
                </a:solidFill>
                <a:effectLst/>
                <a:uFillTx/>
                <a:latin typeface="IntelOne Text" panose="020B0503020203020204" pitchFamily="34" charset="0"/>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900" b="0" i="0" u="none" strike="noStrike" cap="none" spc="0" normalizeH="0" baseline="0">
              <a:ln>
                <a:noFill/>
              </a:ln>
              <a:solidFill>
                <a:schemeClr val="bg2"/>
              </a:solidFill>
              <a:effectLst/>
              <a:uFillTx/>
              <a:latin typeface="IntelOne Text" panose="020B0503020203020204" pitchFamily="34" charset="0"/>
              <a:ea typeface="+mn-ea"/>
              <a:cs typeface="+mn-cs"/>
              <a:sym typeface="Helvetica Neue"/>
            </a:endParaRPr>
          </a:p>
        </p:txBody>
      </p:sp>
    </p:spTree>
    <p:extLst>
      <p:ext uri="{BB962C8B-B14F-4D97-AF65-F5344CB8AC3E}">
        <p14:creationId xmlns:p14="http://schemas.microsoft.com/office/powerpoint/2010/main" val="41292431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marL="0" marR="0" indent="0" algn="l" defTabSz="609600" latinLnBrk="0">
        <a:lnSpc>
          <a:spcPct val="90000"/>
        </a:lnSpc>
        <a:spcBef>
          <a:spcPts val="0"/>
        </a:spcBef>
        <a:spcAft>
          <a:spcPts val="0"/>
        </a:spcAft>
        <a:buClrTx/>
        <a:buSzTx/>
        <a:buFontTx/>
        <a:buNone/>
        <a:tabLst/>
        <a:defRPr sz="4000" b="0" i="0" u="none" strike="noStrike" cap="none" spc="0" baseline="0">
          <a:solidFill>
            <a:schemeClr val="bg2"/>
          </a:solidFill>
          <a:uFillTx/>
          <a:latin typeface="IntelOne Display Light" panose="020B0403020203020204" pitchFamily="34" charset="0"/>
          <a:ea typeface="IntelOne Display Light" panose="020B0403020203020204" pitchFamily="34" charset="0"/>
          <a:cs typeface="IntelOne Display Light" panose="020B0403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latinLnBrk="0">
        <a:lnSpc>
          <a:spcPct val="100000"/>
        </a:lnSpc>
        <a:spcBef>
          <a:spcPts val="1200"/>
        </a:spcBef>
        <a:spcAft>
          <a:spcPts val="0"/>
        </a:spcAft>
        <a:buClrTx/>
        <a:buSzTx/>
        <a:buFont typeface="Wingdings" pitchFamily="2" charset="2"/>
        <a:buChar char="§"/>
        <a:tabLst/>
        <a:defRPr sz="28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One Text" panose="020B0503020203020204" pitchFamily="34" charset="0"/>
          <a:ea typeface="IntelOne Display Light" panose="020B0403020203020204" pitchFamily="34" charset="0"/>
          <a:cs typeface="IntelOne Display Light" panose="020B0403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1pPr>
      <a:lvl2pPr marL="0" marR="0" indent="2286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2pPr>
      <a:lvl3pPr marL="0" marR="0" indent="4572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3pPr>
      <a:lvl4pPr marL="0" marR="0" indent="6858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4pPr>
      <a:lvl5pPr marL="0" marR="0" indent="9144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5pPr>
      <a:lvl6pPr marL="0" marR="0" indent="11430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6pPr>
      <a:lvl7pPr marL="0" marR="0" indent="13716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7pPr>
      <a:lvl8pPr marL="0" marR="0" indent="16002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8pPr>
      <a:lvl9pPr marL="0" marR="0" indent="1828800" algn="r" defTabSz="609600" latinLnBrk="0">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9pPr>
    </p:otherStyle>
  </p:txStyles>
  <p:extLst>
    <p:ext uri="{27BBF7A9-308A-43DC-89C8-2F10F3537804}">
      <p15:sldGuideLst xmlns:p15="http://schemas.microsoft.com/office/powerpoint/2012/main">
        <p15:guide id="1" pos="356">
          <p15:clr>
            <a:srgbClr val="F26B43"/>
          </p15:clr>
        </p15:guide>
        <p15:guide id="2" pos="7392">
          <p15:clr>
            <a:srgbClr val="F26B43"/>
          </p15:clr>
        </p15:guide>
        <p15:guide id="3" pos="729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ww.digifort.com/" TargetMode="External"/><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image" Target="../media/image3.jpeg"/><Relationship Id="rId9" Type="http://schemas.openxmlformats.org/officeDocument/2006/relationships/hyperlink" Target="http://www.digifort.com.br/digifort-cloud.ph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Photo Of People Leaning On Wooden Table">
            <a:extLst>
              <a:ext uri="{FF2B5EF4-FFF2-40B4-BE49-F238E27FC236}">
                <a16:creationId xmlns:a16="http://schemas.microsoft.com/office/drawing/2014/main" id="{903A10FE-F7E8-4227-9817-A9316064EECA}"/>
              </a:ext>
            </a:extLst>
          </p:cNvPr>
          <p:cNvPicPr>
            <a:picLocks noChangeAspect="1" noChangeArrowheads="1"/>
          </p:cNvPicPr>
          <p:nvPr/>
        </p:nvPicPr>
        <p:blipFill rotWithShape="1">
          <a:blip r:embed="rId4" cstate="screen">
            <a:alphaModFix/>
            <a:extLst>
              <a:ext uri="{28A0092B-C50C-407E-A947-70E740481C1C}">
                <a14:useLocalDpi xmlns:a14="http://schemas.microsoft.com/office/drawing/2010/main" val="0"/>
              </a:ext>
            </a:extLst>
          </a:blip>
          <a:srcRect/>
          <a:stretch/>
        </p:blipFill>
        <p:spPr bwMode="auto">
          <a:xfrm>
            <a:off x="1" y="0"/>
            <a:ext cx="11725359" cy="1828800"/>
          </a:xfrm>
          <a:custGeom>
            <a:avLst/>
            <a:gdLst>
              <a:gd name="connsiteX0" fmla="*/ 0 w 11725359"/>
              <a:gd name="connsiteY0" fmla="*/ 0 h 1828800"/>
              <a:gd name="connsiteX1" fmla="*/ 11725359 w 11725359"/>
              <a:gd name="connsiteY1" fmla="*/ 0 h 1828800"/>
              <a:gd name="connsiteX2" fmla="*/ 11725359 w 11725359"/>
              <a:gd name="connsiteY2" fmla="*/ 1828800 h 1828800"/>
              <a:gd name="connsiteX3" fmla="*/ 0 w 11725359"/>
              <a:gd name="connsiteY3" fmla="*/ 1828800 h 1828800"/>
            </a:gdLst>
            <a:ahLst/>
            <a:cxnLst>
              <a:cxn ang="0">
                <a:pos x="connsiteX0" y="connsiteY0"/>
              </a:cxn>
              <a:cxn ang="0">
                <a:pos x="connsiteX1" y="connsiteY1"/>
              </a:cxn>
              <a:cxn ang="0">
                <a:pos x="connsiteX2" y="connsiteY2"/>
              </a:cxn>
              <a:cxn ang="0">
                <a:pos x="connsiteX3" y="connsiteY3"/>
              </a:cxn>
            </a:cxnLst>
            <a:rect l="l" t="t" r="r" b="b"/>
            <a:pathLst>
              <a:path w="11725359" h="1828800">
                <a:moveTo>
                  <a:pt x="0" y="0"/>
                </a:moveTo>
                <a:lnTo>
                  <a:pt x="11725359" y="0"/>
                </a:lnTo>
                <a:lnTo>
                  <a:pt x="11725359" y="1828800"/>
                </a:lnTo>
                <a:lnTo>
                  <a:pt x="0" y="1828800"/>
                </a:lnTo>
                <a:close/>
              </a:path>
            </a:pathLst>
          </a:cu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FFEBF4AA-E1B2-43C7-9D07-F6F0529CFBC4}"/>
              </a:ext>
              <a:ext uri="{C183D7F6-B498-43B3-948B-1728B52AA6E4}">
                <adec:decorative xmlns:adec="http://schemas.microsoft.com/office/drawing/2017/decorative" val="1"/>
              </a:ext>
            </a:extLst>
          </p:cNvPr>
          <p:cNvSpPr/>
          <p:nvPr/>
        </p:nvSpPr>
        <p:spPr>
          <a:xfrm>
            <a:off x="250528" y="2849259"/>
            <a:ext cx="182880" cy="182880"/>
          </a:xfrm>
          <a:prstGeom prst="rect">
            <a:avLst/>
          </a:prstGeom>
          <a:solidFill>
            <a:srgbClr val="D9693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p:txBody>
      </p:sp>
      <p:sp>
        <p:nvSpPr>
          <p:cNvPr id="56" name="Freeform: Shape 55">
            <a:extLst>
              <a:ext uri="{FF2B5EF4-FFF2-40B4-BE49-F238E27FC236}">
                <a16:creationId xmlns:a16="http://schemas.microsoft.com/office/drawing/2014/main" id="{DF95A244-A1E3-478E-8AA0-22F4B82322DF}"/>
              </a:ext>
              <a:ext uri="{C183D7F6-B498-43B3-948B-1728B52AA6E4}">
                <adec:decorative xmlns:adec="http://schemas.microsoft.com/office/drawing/2017/decorative" val="1"/>
              </a:ext>
            </a:extLst>
          </p:cNvPr>
          <p:cNvSpPr/>
          <p:nvPr/>
        </p:nvSpPr>
        <p:spPr>
          <a:xfrm>
            <a:off x="0" y="0"/>
            <a:ext cx="11725359" cy="1828800"/>
          </a:xfrm>
          <a:custGeom>
            <a:avLst/>
            <a:gdLst>
              <a:gd name="connsiteX0" fmla="*/ 0 w 11725359"/>
              <a:gd name="connsiteY0" fmla="*/ 0 h 1828800"/>
              <a:gd name="connsiteX1" fmla="*/ 11725359 w 11725359"/>
              <a:gd name="connsiteY1" fmla="*/ 0 h 1828800"/>
              <a:gd name="connsiteX2" fmla="*/ 11725359 w 11725359"/>
              <a:gd name="connsiteY2" fmla="*/ 1828800 h 1828800"/>
              <a:gd name="connsiteX3" fmla="*/ 0 w 11725359"/>
              <a:gd name="connsiteY3" fmla="*/ 1828800 h 1828800"/>
            </a:gdLst>
            <a:ahLst/>
            <a:cxnLst>
              <a:cxn ang="0">
                <a:pos x="connsiteX0" y="connsiteY0"/>
              </a:cxn>
              <a:cxn ang="0">
                <a:pos x="connsiteX1" y="connsiteY1"/>
              </a:cxn>
              <a:cxn ang="0">
                <a:pos x="connsiteX2" y="connsiteY2"/>
              </a:cxn>
              <a:cxn ang="0">
                <a:pos x="connsiteX3" y="connsiteY3"/>
              </a:cxn>
            </a:cxnLst>
            <a:rect l="l" t="t" r="r" b="b"/>
            <a:pathLst>
              <a:path w="11725359" h="1828800">
                <a:moveTo>
                  <a:pt x="0" y="0"/>
                </a:moveTo>
                <a:lnTo>
                  <a:pt x="11725359" y="0"/>
                </a:lnTo>
                <a:lnTo>
                  <a:pt x="11725359" y="1828800"/>
                </a:lnTo>
                <a:lnTo>
                  <a:pt x="0" y="1828800"/>
                </a:lnTo>
                <a:close/>
              </a:path>
            </a:pathLst>
          </a:custGeom>
          <a:solidFill>
            <a:schemeClr val="tx1">
              <a:alpha val="3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aphicFrame>
        <p:nvGraphicFramePr>
          <p:cNvPr id="60" name="Object 59">
            <a:extLst>
              <a:ext uri="{FF2B5EF4-FFF2-40B4-BE49-F238E27FC236}">
                <a16:creationId xmlns:a16="http://schemas.microsoft.com/office/drawing/2014/main" id="{6453E352-BB86-4863-8D28-5B4AA11CF412}"/>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60" name="Object 59">
                        <a:extLst>
                          <a:ext uri="{FF2B5EF4-FFF2-40B4-BE49-F238E27FC236}">
                            <a16:creationId xmlns:a16="http://schemas.microsoft.com/office/drawing/2014/main" id="{6453E352-BB86-4863-8D28-5B4AA11CF41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10" name="Straight Connector 109">
            <a:extLst>
              <a:ext uri="{FF2B5EF4-FFF2-40B4-BE49-F238E27FC236}">
                <a16:creationId xmlns:a16="http://schemas.microsoft.com/office/drawing/2014/main" id="{3FF90119-74B5-41C1-8B99-0AC46AFCAC09}"/>
              </a:ext>
              <a:ext uri="{C183D7F6-B498-43B3-948B-1728B52AA6E4}">
                <adec:decorative xmlns:adec="http://schemas.microsoft.com/office/drawing/2017/decorative" val="1"/>
              </a:ext>
            </a:extLst>
          </p:cNvPr>
          <p:cNvCxnSpPr>
            <a:cxnSpLocks/>
          </p:cNvCxnSpPr>
          <p:nvPr/>
        </p:nvCxnSpPr>
        <p:spPr>
          <a:xfrm>
            <a:off x="9767134" y="3207258"/>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14" name="Straight Connector 113">
            <a:extLst>
              <a:ext uri="{FF2B5EF4-FFF2-40B4-BE49-F238E27FC236}">
                <a16:creationId xmlns:a16="http://schemas.microsoft.com/office/drawing/2014/main" id="{9FE5AD80-125B-4544-8DF1-B512389D4CD3}"/>
              </a:ext>
              <a:ext uri="{C183D7F6-B498-43B3-948B-1728B52AA6E4}">
                <adec:decorative xmlns:adec="http://schemas.microsoft.com/office/drawing/2017/decorative" val="1"/>
              </a:ext>
            </a:extLst>
          </p:cNvPr>
          <p:cNvCxnSpPr>
            <a:cxnSpLocks/>
          </p:cNvCxnSpPr>
          <p:nvPr/>
        </p:nvCxnSpPr>
        <p:spPr>
          <a:xfrm>
            <a:off x="9751364" y="5127000"/>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12" name="Straight Connector 111">
            <a:extLst>
              <a:ext uri="{FF2B5EF4-FFF2-40B4-BE49-F238E27FC236}">
                <a16:creationId xmlns:a16="http://schemas.microsoft.com/office/drawing/2014/main" id="{61C7D837-7BF3-451A-BFA5-9CC9AC4782F9}"/>
              </a:ext>
              <a:ext uri="{C183D7F6-B498-43B3-948B-1728B52AA6E4}">
                <adec:decorative xmlns:adec="http://schemas.microsoft.com/office/drawing/2017/decorative" val="1"/>
              </a:ext>
            </a:extLst>
          </p:cNvPr>
          <p:cNvCxnSpPr>
            <a:cxnSpLocks/>
          </p:cNvCxnSpPr>
          <p:nvPr/>
        </p:nvCxnSpPr>
        <p:spPr>
          <a:xfrm>
            <a:off x="9776099" y="4143065"/>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7" name="Rectangle 116">
            <a:extLst>
              <a:ext uri="{FF2B5EF4-FFF2-40B4-BE49-F238E27FC236}">
                <a16:creationId xmlns:a16="http://schemas.microsoft.com/office/drawing/2014/main" id="{C7F3B2DF-44F7-40DD-991B-A70DB454DC80}"/>
              </a:ext>
              <a:ext uri="{C183D7F6-B498-43B3-948B-1728B52AA6E4}">
                <adec:decorative xmlns:adec="http://schemas.microsoft.com/office/drawing/2017/decorative" val="1"/>
              </a:ext>
            </a:extLst>
          </p:cNvPr>
          <p:cNvSpPr/>
          <p:nvPr/>
        </p:nvSpPr>
        <p:spPr>
          <a:xfrm>
            <a:off x="253315" y="1972774"/>
            <a:ext cx="182880" cy="182880"/>
          </a:xfrm>
          <a:prstGeom prst="rect">
            <a:avLst/>
          </a:prstGeom>
          <a:solidFill>
            <a:srgbClr val="D9693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p:txBody>
      </p:sp>
      <p:cxnSp>
        <p:nvCxnSpPr>
          <p:cNvPr id="118" name="Straight Connector 117">
            <a:extLst>
              <a:ext uri="{FF2B5EF4-FFF2-40B4-BE49-F238E27FC236}">
                <a16:creationId xmlns:a16="http://schemas.microsoft.com/office/drawing/2014/main" id="{64AF0730-AAE5-4D55-AE2D-6E73347069FE}"/>
              </a:ext>
              <a:ext uri="{C183D7F6-B498-43B3-948B-1728B52AA6E4}">
                <adec:decorative xmlns:adec="http://schemas.microsoft.com/office/drawing/2017/decorative" val="1"/>
              </a:ext>
            </a:extLst>
          </p:cNvPr>
          <p:cNvCxnSpPr>
            <a:cxnSpLocks/>
          </p:cNvCxnSpPr>
          <p:nvPr/>
        </p:nvCxnSpPr>
        <p:spPr>
          <a:xfrm>
            <a:off x="435790" y="2168332"/>
            <a:ext cx="8998866"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33" name="Straight Connector 132">
            <a:extLst>
              <a:ext uri="{FF2B5EF4-FFF2-40B4-BE49-F238E27FC236}">
                <a16:creationId xmlns:a16="http://schemas.microsoft.com/office/drawing/2014/main" id="{9998626A-FD6F-4748-A245-BA17698BE7E4}"/>
              </a:ext>
              <a:ext uri="{C183D7F6-B498-43B3-948B-1728B52AA6E4}">
                <adec:decorative xmlns:adec="http://schemas.microsoft.com/office/drawing/2017/decorative" val="1"/>
              </a:ext>
            </a:extLst>
          </p:cNvPr>
          <p:cNvCxnSpPr>
            <a:cxnSpLocks/>
          </p:cNvCxnSpPr>
          <p:nvPr/>
        </p:nvCxnSpPr>
        <p:spPr>
          <a:xfrm>
            <a:off x="433408" y="3044044"/>
            <a:ext cx="3195912"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34" name="Straight Connector 133">
            <a:extLst>
              <a:ext uri="{FF2B5EF4-FFF2-40B4-BE49-F238E27FC236}">
                <a16:creationId xmlns:a16="http://schemas.microsoft.com/office/drawing/2014/main" id="{11857988-A37A-482E-96B5-ABF455AB19B4}"/>
              </a:ext>
              <a:ext uri="{C183D7F6-B498-43B3-948B-1728B52AA6E4}">
                <adec:decorative xmlns:adec="http://schemas.microsoft.com/office/drawing/2017/decorative" val="1"/>
              </a:ext>
            </a:extLst>
          </p:cNvPr>
          <p:cNvCxnSpPr>
            <a:cxnSpLocks/>
          </p:cNvCxnSpPr>
          <p:nvPr/>
        </p:nvCxnSpPr>
        <p:spPr>
          <a:xfrm>
            <a:off x="433407" y="5672037"/>
            <a:ext cx="3195913"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163" name="TextBox 162">
            <a:extLst>
              <a:ext uri="{FF2B5EF4-FFF2-40B4-BE49-F238E27FC236}">
                <a16:creationId xmlns:a16="http://schemas.microsoft.com/office/drawing/2014/main" id="{40A00470-1A7C-4D5C-82CD-1C320217E546}"/>
              </a:ext>
              <a:ext uri="{C183D7F6-B498-43B3-948B-1728B52AA6E4}">
                <adec:decorative xmlns:adec="http://schemas.microsoft.com/office/drawing/2017/decorative" val="1"/>
              </a:ext>
            </a:extLst>
          </p:cNvPr>
          <p:cNvSpPr txBox="1"/>
          <p:nvPr/>
        </p:nvSpPr>
        <p:spPr>
          <a:xfrm>
            <a:off x="5167630" y="4259683"/>
            <a:ext cx="2548975"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IntelOne Text" panose="020B0503020203020204" pitchFamily="34" charset="0"/>
                <a:ea typeface="+mn-ea"/>
                <a:cs typeface="+mn-cs"/>
                <a:sym typeface="Helvetica Neue"/>
              </a:rPr>
              <a:t>Solution Diagram</a:t>
            </a:r>
          </a:p>
        </p:txBody>
      </p:sp>
      <p:grpSp>
        <p:nvGrpSpPr>
          <p:cNvPr id="817" name="Group 816">
            <a:extLst>
              <a:ext uri="{FF2B5EF4-FFF2-40B4-BE49-F238E27FC236}">
                <a16:creationId xmlns:a16="http://schemas.microsoft.com/office/drawing/2014/main" id="{DD05957D-2FEA-4808-AE0A-DE94A46E7FCB}"/>
              </a:ext>
              <a:ext uri="{C183D7F6-B498-43B3-948B-1728B52AA6E4}">
                <adec:decorative xmlns:adec="http://schemas.microsoft.com/office/drawing/2017/decorative" val="1"/>
              </a:ext>
            </a:extLst>
          </p:cNvPr>
          <p:cNvGrpSpPr/>
          <p:nvPr/>
        </p:nvGrpSpPr>
        <p:grpSpPr>
          <a:xfrm>
            <a:off x="258368" y="3336536"/>
            <a:ext cx="402442" cy="440875"/>
            <a:chOff x="9186451" y="3271946"/>
            <a:chExt cx="419378" cy="478091"/>
          </a:xfrm>
          <a:solidFill>
            <a:srgbClr val="BABABA"/>
          </a:solidFill>
        </p:grpSpPr>
        <p:sp>
          <p:nvSpPr>
            <p:cNvPr id="818" name="Freeform: Shape 817">
              <a:extLst>
                <a:ext uri="{FF2B5EF4-FFF2-40B4-BE49-F238E27FC236}">
                  <a16:creationId xmlns:a16="http://schemas.microsoft.com/office/drawing/2014/main" id="{E2086BFE-B308-46F4-BBA4-4E752CD4C91B}"/>
                </a:ext>
              </a:extLst>
            </p:cNvPr>
            <p:cNvSpPr/>
            <p:nvPr/>
          </p:nvSpPr>
          <p:spPr>
            <a:xfrm>
              <a:off x="9186451" y="3271946"/>
              <a:ext cx="35024" cy="35024"/>
            </a:xfrm>
            <a:custGeom>
              <a:avLst/>
              <a:gdLst>
                <a:gd name="connsiteX0" fmla="*/ 0 w 35024"/>
                <a:gd name="connsiteY0" fmla="*/ 0 h 35024"/>
                <a:gd name="connsiteX1" fmla="*/ 35024 w 35024"/>
                <a:gd name="connsiteY1" fmla="*/ 0 h 35024"/>
                <a:gd name="connsiteX2" fmla="*/ 35024 w 35024"/>
                <a:gd name="connsiteY2" fmla="*/ 35024 h 35024"/>
                <a:gd name="connsiteX3" fmla="*/ 0 w 35024"/>
                <a:gd name="connsiteY3" fmla="*/ 35024 h 35024"/>
              </a:gdLst>
              <a:ahLst/>
              <a:cxnLst>
                <a:cxn ang="0">
                  <a:pos x="connsiteX0" y="connsiteY0"/>
                </a:cxn>
                <a:cxn ang="0">
                  <a:pos x="connsiteX1" y="connsiteY1"/>
                </a:cxn>
                <a:cxn ang="0">
                  <a:pos x="connsiteX2" y="connsiteY2"/>
                </a:cxn>
                <a:cxn ang="0">
                  <a:pos x="connsiteX3" y="connsiteY3"/>
                </a:cxn>
              </a:cxnLst>
              <a:rect l="l" t="t" r="r" b="b"/>
              <a:pathLst>
                <a:path w="35024" h="35024">
                  <a:moveTo>
                    <a:pt x="0" y="0"/>
                  </a:moveTo>
                  <a:lnTo>
                    <a:pt x="35024" y="0"/>
                  </a:lnTo>
                  <a:lnTo>
                    <a:pt x="35024" y="35024"/>
                  </a:lnTo>
                  <a:lnTo>
                    <a:pt x="0" y="35024"/>
                  </a:lnTo>
                  <a:close/>
                </a:path>
              </a:pathLst>
            </a:custGeom>
            <a:solidFill>
              <a:srgbClr val="D96930"/>
            </a:solidFill>
            <a:ln w="11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19" name="Freeform: Shape 818">
              <a:extLst>
                <a:ext uri="{FF2B5EF4-FFF2-40B4-BE49-F238E27FC236}">
                  <a16:creationId xmlns:a16="http://schemas.microsoft.com/office/drawing/2014/main" id="{D494D3F1-200D-48C6-9B15-BF940C5AF2CF}"/>
                </a:ext>
              </a:extLst>
            </p:cNvPr>
            <p:cNvSpPr/>
            <p:nvPr/>
          </p:nvSpPr>
          <p:spPr>
            <a:xfrm>
              <a:off x="9376748" y="3289470"/>
              <a:ext cx="35001" cy="170470"/>
            </a:xfrm>
            <a:custGeom>
              <a:avLst/>
              <a:gdLst>
                <a:gd name="connsiteX0" fmla="*/ 35002 w 35001"/>
                <a:gd name="connsiteY0" fmla="*/ 135446 h 170470"/>
                <a:gd name="connsiteX1" fmla="*/ 0 w 35001"/>
                <a:gd name="connsiteY1" fmla="*/ 170470 h 170470"/>
                <a:gd name="connsiteX2" fmla="*/ 0 w 35001"/>
                <a:gd name="connsiteY2" fmla="*/ 0 h 170470"/>
                <a:gd name="connsiteX3" fmla="*/ 35002 w 35001"/>
                <a:gd name="connsiteY3" fmla="*/ 0 h 170470"/>
              </a:gdLst>
              <a:ahLst/>
              <a:cxnLst>
                <a:cxn ang="0">
                  <a:pos x="connsiteX0" y="connsiteY0"/>
                </a:cxn>
                <a:cxn ang="0">
                  <a:pos x="connsiteX1" y="connsiteY1"/>
                </a:cxn>
                <a:cxn ang="0">
                  <a:pos x="connsiteX2" y="connsiteY2"/>
                </a:cxn>
                <a:cxn ang="0">
                  <a:pos x="connsiteX3" y="connsiteY3"/>
                </a:cxn>
              </a:cxnLst>
              <a:rect l="l" t="t" r="r" b="b"/>
              <a:pathLst>
                <a:path w="35001" h="170470">
                  <a:moveTo>
                    <a:pt x="35002" y="135446"/>
                  </a:moveTo>
                  <a:lnTo>
                    <a:pt x="0" y="170470"/>
                  </a:lnTo>
                  <a:lnTo>
                    <a:pt x="0" y="0"/>
                  </a:lnTo>
                  <a:lnTo>
                    <a:pt x="35002" y="0"/>
                  </a:lnTo>
                  <a:close/>
                </a:path>
              </a:pathLst>
            </a:custGeom>
            <a:grpFill/>
            <a:ln w="11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20" name="Freeform: Shape 819">
              <a:extLst>
                <a:ext uri="{FF2B5EF4-FFF2-40B4-BE49-F238E27FC236}">
                  <a16:creationId xmlns:a16="http://schemas.microsoft.com/office/drawing/2014/main" id="{93E11F2A-A8A0-41BA-BB09-CDB054A5EA59}"/>
                </a:ext>
              </a:extLst>
            </p:cNvPr>
            <p:cNvSpPr/>
            <p:nvPr/>
          </p:nvSpPr>
          <p:spPr>
            <a:xfrm>
              <a:off x="9186462" y="3271969"/>
              <a:ext cx="419367" cy="478068"/>
            </a:xfrm>
            <a:custGeom>
              <a:avLst/>
              <a:gdLst>
                <a:gd name="connsiteX0" fmla="*/ 46733 w 419367"/>
                <a:gd name="connsiteY0" fmla="*/ 0 h 478068"/>
                <a:gd name="connsiteX1" fmla="*/ 46733 w 419367"/>
                <a:gd name="connsiteY1" fmla="*/ 35002 h 478068"/>
                <a:gd name="connsiteX2" fmla="*/ 384365 w 419367"/>
                <a:gd name="connsiteY2" fmla="*/ 35002 h 478068"/>
                <a:gd name="connsiteX3" fmla="*/ 384365 w 419367"/>
                <a:gd name="connsiteY3" fmla="*/ 264083 h 478068"/>
                <a:gd name="connsiteX4" fmla="*/ 225288 w 419367"/>
                <a:gd name="connsiteY4" fmla="*/ 431448 h 478068"/>
                <a:gd name="connsiteX5" fmla="*/ 225288 w 419367"/>
                <a:gd name="connsiteY5" fmla="*/ 236466 h 478068"/>
                <a:gd name="connsiteX6" fmla="*/ 190286 w 419367"/>
                <a:gd name="connsiteY6" fmla="*/ 271637 h 478068"/>
                <a:gd name="connsiteX7" fmla="*/ 190286 w 419367"/>
                <a:gd name="connsiteY7" fmla="*/ 431008 h 478068"/>
                <a:gd name="connsiteX8" fmla="*/ 122540 w 419367"/>
                <a:gd name="connsiteY8" fmla="*/ 389198 h 478068"/>
                <a:gd name="connsiteX9" fmla="*/ 35002 w 419367"/>
                <a:gd name="connsiteY9" fmla="*/ 269333 h 478068"/>
                <a:gd name="connsiteX10" fmla="*/ 35002 w 419367"/>
                <a:gd name="connsiteY10" fmla="*/ 47738 h 478068"/>
                <a:gd name="connsiteX11" fmla="*/ 0 w 419367"/>
                <a:gd name="connsiteY11" fmla="*/ 47738 h 478068"/>
                <a:gd name="connsiteX12" fmla="*/ 0 w 419367"/>
                <a:gd name="connsiteY12" fmla="*/ 269333 h 478068"/>
                <a:gd name="connsiteX13" fmla="*/ 102013 w 419367"/>
                <a:gd name="connsiteY13" fmla="*/ 417549 h 478068"/>
                <a:gd name="connsiteX14" fmla="*/ 199906 w 419367"/>
                <a:gd name="connsiteY14" fmla="*/ 474862 h 478068"/>
                <a:gd name="connsiteX15" fmla="*/ 207075 w 419367"/>
                <a:gd name="connsiteY15" fmla="*/ 478069 h 478068"/>
                <a:gd name="connsiteX16" fmla="*/ 215397 w 419367"/>
                <a:gd name="connsiteY16" fmla="*/ 474331 h 478068"/>
                <a:gd name="connsiteX17" fmla="*/ 354252 w 419367"/>
                <a:gd name="connsiteY17" fmla="*/ 397801 h 478068"/>
                <a:gd name="connsiteX18" fmla="*/ 419367 w 419367"/>
                <a:gd name="connsiteY18" fmla="*/ 264094 h 478068"/>
                <a:gd name="connsiteX19" fmla="*/ 419367 w 419367"/>
                <a:gd name="connsiteY19" fmla="*/ 0 h 478068"/>
                <a:gd name="connsiteX20" fmla="*/ 46733 w 419367"/>
                <a:gd name="connsiteY20" fmla="*/ 0 h 478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9367" h="478068">
                  <a:moveTo>
                    <a:pt x="46733" y="0"/>
                  </a:moveTo>
                  <a:lnTo>
                    <a:pt x="46733" y="35002"/>
                  </a:lnTo>
                  <a:lnTo>
                    <a:pt x="384365" y="35002"/>
                  </a:lnTo>
                  <a:lnTo>
                    <a:pt x="384365" y="264083"/>
                  </a:lnTo>
                  <a:cubicBezTo>
                    <a:pt x="384365" y="351972"/>
                    <a:pt x="312973" y="391400"/>
                    <a:pt x="225288" y="431448"/>
                  </a:cubicBezTo>
                  <a:lnTo>
                    <a:pt x="225288" y="236466"/>
                  </a:lnTo>
                  <a:lnTo>
                    <a:pt x="190286" y="271637"/>
                  </a:lnTo>
                  <a:lnTo>
                    <a:pt x="190286" y="431008"/>
                  </a:lnTo>
                  <a:cubicBezTo>
                    <a:pt x="172683" y="421693"/>
                    <a:pt x="147550" y="407297"/>
                    <a:pt x="122540" y="389198"/>
                  </a:cubicBezTo>
                  <a:cubicBezTo>
                    <a:pt x="82604" y="360293"/>
                    <a:pt x="35002" y="316033"/>
                    <a:pt x="35002" y="269333"/>
                  </a:cubicBezTo>
                  <a:lnTo>
                    <a:pt x="35002" y="47738"/>
                  </a:lnTo>
                  <a:lnTo>
                    <a:pt x="0" y="47738"/>
                  </a:lnTo>
                  <a:lnTo>
                    <a:pt x="0" y="269333"/>
                  </a:lnTo>
                  <a:cubicBezTo>
                    <a:pt x="0" y="318686"/>
                    <a:pt x="34324" y="368547"/>
                    <a:pt x="102013" y="417549"/>
                  </a:cubicBezTo>
                  <a:cubicBezTo>
                    <a:pt x="150316" y="452506"/>
                    <a:pt x="197896" y="473970"/>
                    <a:pt x="199906" y="474862"/>
                  </a:cubicBezTo>
                  <a:lnTo>
                    <a:pt x="207075" y="478069"/>
                  </a:lnTo>
                  <a:lnTo>
                    <a:pt x="215397" y="474331"/>
                  </a:lnTo>
                  <a:cubicBezTo>
                    <a:pt x="267504" y="450891"/>
                    <a:pt x="316710" y="428761"/>
                    <a:pt x="354252" y="397801"/>
                  </a:cubicBezTo>
                  <a:cubicBezTo>
                    <a:pt x="398072" y="361659"/>
                    <a:pt x="419367" y="317918"/>
                    <a:pt x="419367" y="264094"/>
                  </a:cubicBezTo>
                  <a:lnTo>
                    <a:pt x="419367" y="0"/>
                  </a:lnTo>
                  <a:lnTo>
                    <a:pt x="46733" y="0"/>
                  </a:lnTo>
                  <a:close/>
                </a:path>
              </a:pathLst>
            </a:custGeom>
            <a:grpFill/>
            <a:ln w="11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21" name="Freeform: Shape 820">
              <a:extLst>
                <a:ext uri="{FF2B5EF4-FFF2-40B4-BE49-F238E27FC236}">
                  <a16:creationId xmlns:a16="http://schemas.microsoft.com/office/drawing/2014/main" id="{6AAF938B-3691-4F5F-AC09-300261E120C2}"/>
                </a:ext>
              </a:extLst>
            </p:cNvPr>
            <p:cNvSpPr/>
            <p:nvPr/>
          </p:nvSpPr>
          <p:spPr>
            <a:xfrm>
              <a:off x="9276575" y="3364735"/>
              <a:ext cx="235347" cy="196405"/>
            </a:xfrm>
            <a:custGeom>
              <a:avLst/>
              <a:gdLst>
                <a:gd name="connsiteX0" fmla="*/ 63681 w 235347"/>
                <a:gd name="connsiteY0" fmla="*/ 196405 h 196405"/>
                <a:gd name="connsiteX1" fmla="*/ 0 w 235347"/>
                <a:gd name="connsiteY1" fmla="*/ 132725 h 196405"/>
                <a:gd name="connsiteX2" fmla="*/ 24750 w 235347"/>
                <a:gd name="connsiteY2" fmla="*/ 107975 h 196405"/>
                <a:gd name="connsiteX3" fmla="*/ 63681 w 235347"/>
                <a:gd name="connsiteY3" fmla="*/ 146906 h 196405"/>
                <a:gd name="connsiteX4" fmla="*/ 210598 w 235347"/>
                <a:gd name="connsiteY4" fmla="*/ 0 h 196405"/>
                <a:gd name="connsiteX5" fmla="*/ 235348 w 235347"/>
                <a:gd name="connsiteY5" fmla="*/ 24750 h 19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5347" h="196405">
                  <a:moveTo>
                    <a:pt x="63681" y="196405"/>
                  </a:moveTo>
                  <a:lnTo>
                    <a:pt x="0" y="132725"/>
                  </a:lnTo>
                  <a:lnTo>
                    <a:pt x="24750" y="107975"/>
                  </a:lnTo>
                  <a:lnTo>
                    <a:pt x="63681" y="146906"/>
                  </a:lnTo>
                  <a:lnTo>
                    <a:pt x="210598" y="0"/>
                  </a:lnTo>
                  <a:lnTo>
                    <a:pt x="235348" y="24750"/>
                  </a:lnTo>
                  <a:close/>
                </a:path>
              </a:pathLst>
            </a:custGeom>
            <a:solidFill>
              <a:srgbClr val="D96930"/>
            </a:solidFill>
            <a:ln w="11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806" name="Group 805">
            <a:extLst>
              <a:ext uri="{FF2B5EF4-FFF2-40B4-BE49-F238E27FC236}">
                <a16:creationId xmlns:a16="http://schemas.microsoft.com/office/drawing/2014/main" id="{6146307B-CEC8-41ED-873D-0570D037F964}"/>
              </a:ext>
              <a:ext uri="{C183D7F6-B498-43B3-948B-1728B52AA6E4}">
                <adec:decorative xmlns:adec="http://schemas.microsoft.com/office/drawing/2017/decorative" val="1"/>
              </a:ext>
            </a:extLst>
          </p:cNvPr>
          <p:cNvGrpSpPr/>
          <p:nvPr/>
        </p:nvGrpSpPr>
        <p:grpSpPr>
          <a:xfrm>
            <a:off x="212409" y="4065769"/>
            <a:ext cx="484167" cy="538612"/>
            <a:chOff x="4667873" y="2999698"/>
            <a:chExt cx="627426" cy="697982"/>
          </a:xfrm>
          <a:solidFill>
            <a:srgbClr val="D96930"/>
          </a:solidFill>
        </p:grpSpPr>
        <p:sp>
          <p:nvSpPr>
            <p:cNvPr id="807" name="Freeform 130">
              <a:extLst>
                <a:ext uri="{FF2B5EF4-FFF2-40B4-BE49-F238E27FC236}">
                  <a16:creationId xmlns:a16="http://schemas.microsoft.com/office/drawing/2014/main" id="{01EA128E-FBC3-4663-900D-4741C8C9023C}"/>
                </a:ext>
              </a:extLst>
            </p:cNvPr>
            <p:cNvSpPr>
              <a:spLocks noEditPoints="1"/>
            </p:cNvSpPr>
            <p:nvPr/>
          </p:nvSpPr>
          <p:spPr bwMode="auto">
            <a:xfrm>
              <a:off x="4683064" y="3168112"/>
              <a:ext cx="598366" cy="343433"/>
            </a:xfrm>
            <a:custGeom>
              <a:avLst/>
              <a:gdLst>
                <a:gd name="T0" fmla="*/ 238 w 473"/>
                <a:gd name="T1" fmla="*/ 260 h 271"/>
                <a:gd name="T2" fmla="*/ 27 w 473"/>
                <a:gd name="T3" fmla="*/ 173 h 271"/>
                <a:gd name="T4" fmla="*/ 2 w 473"/>
                <a:gd name="T5" fmla="*/ 149 h 271"/>
                <a:gd name="T6" fmla="*/ 0 w 473"/>
                <a:gd name="T7" fmla="*/ 143 h 271"/>
                <a:gd name="T8" fmla="*/ 2 w 473"/>
                <a:gd name="T9" fmla="*/ 137 h 271"/>
                <a:gd name="T10" fmla="*/ 24 w 473"/>
                <a:gd name="T11" fmla="*/ 116 h 271"/>
                <a:gd name="T12" fmla="*/ 446 w 473"/>
                <a:gd name="T13" fmla="*/ 116 h 271"/>
                <a:gd name="T14" fmla="*/ 470 w 473"/>
                <a:gd name="T15" fmla="*/ 140 h 271"/>
                <a:gd name="T16" fmla="*/ 470 w 473"/>
                <a:gd name="T17" fmla="*/ 151 h 271"/>
                <a:gd name="T18" fmla="*/ 449 w 473"/>
                <a:gd name="T19" fmla="*/ 173 h 271"/>
                <a:gd name="T20" fmla="*/ 238 w 473"/>
                <a:gd name="T21" fmla="*/ 260 h 271"/>
                <a:gd name="T22" fmla="*/ 19 w 473"/>
                <a:gd name="T23" fmla="*/ 143 h 271"/>
                <a:gd name="T24" fmla="*/ 38 w 473"/>
                <a:gd name="T25" fmla="*/ 162 h 271"/>
                <a:gd name="T26" fmla="*/ 437 w 473"/>
                <a:gd name="T27" fmla="*/ 161 h 271"/>
                <a:gd name="T28" fmla="*/ 453 w 473"/>
                <a:gd name="T29" fmla="*/ 146 h 271"/>
                <a:gd name="T30" fmla="*/ 434 w 473"/>
                <a:gd name="T31" fmla="*/ 127 h 271"/>
                <a:gd name="T32" fmla="*/ 35 w 473"/>
                <a:gd name="T33" fmla="*/ 127 h 271"/>
                <a:gd name="T34" fmla="*/ 19 w 473"/>
                <a:gd name="T35" fmla="*/ 14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3" h="271">
                  <a:moveTo>
                    <a:pt x="238" y="260"/>
                  </a:moveTo>
                  <a:cubicBezTo>
                    <a:pt x="161" y="260"/>
                    <a:pt x="85" y="231"/>
                    <a:pt x="27" y="173"/>
                  </a:cubicBezTo>
                  <a:cubicBezTo>
                    <a:pt x="2" y="149"/>
                    <a:pt x="2" y="149"/>
                    <a:pt x="2" y="149"/>
                  </a:cubicBezTo>
                  <a:cubicBezTo>
                    <a:pt x="1" y="147"/>
                    <a:pt x="0" y="145"/>
                    <a:pt x="0" y="143"/>
                  </a:cubicBezTo>
                  <a:cubicBezTo>
                    <a:pt x="0" y="141"/>
                    <a:pt x="1" y="139"/>
                    <a:pt x="2" y="137"/>
                  </a:cubicBezTo>
                  <a:cubicBezTo>
                    <a:pt x="24" y="116"/>
                    <a:pt x="24" y="116"/>
                    <a:pt x="24" y="116"/>
                  </a:cubicBezTo>
                  <a:cubicBezTo>
                    <a:pt x="140" y="0"/>
                    <a:pt x="329" y="0"/>
                    <a:pt x="446" y="116"/>
                  </a:cubicBezTo>
                  <a:cubicBezTo>
                    <a:pt x="470" y="140"/>
                    <a:pt x="470" y="140"/>
                    <a:pt x="470" y="140"/>
                  </a:cubicBezTo>
                  <a:cubicBezTo>
                    <a:pt x="473" y="143"/>
                    <a:pt x="473" y="148"/>
                    <a:pt x="470" y="151"/>
                  </a:cubicBezTo>
                  <a:cubicBezTo>
                    <a:pt x="449" y="173"/>
                    <a:pt x="449" y="173"/>
                    <a:pt x="449" y="173"/>
                  </a:cubicBezTo>
                  <a:cubicBezTo>
                    <a:pt x="390" y="231"/>
                    <a:pt x="314" y="260"/>
                    <a:pt x="238" y="260"/>
                  </a:cubicBezTo>
                  <a:close/>
                  <a:moveTo>
                    <a:pt x="19" y="143"/>
                  </a:moveTo>
                  <a:cubicBezTo>
                    <a:pt x="38" y="162"/>
                    <a:pt x="38" y="162"/>
                    <a:pt x="38" y="162"/>
                  </a:cubicBezTo>
                  <a:cubicBezTo>
                    <a:pt x="149" y="271"/>
                    <a:pt x="327" y="271"/>
                    <a:pt x="437" y="161"/>
                  </a:cubicBezTo>
                  <a:cubicBezTo>
                    <a:pt x="453" y="146"/>
                    <a:pt x="453" y="146"/>
                    <a:pt x="453" y="146"/>
                  </a:cubicBezTo>
                  <a:cubicBezTo>
                    <a:pt x="434" y="127"/>
                    <a:pt x="434" y="127"/>
                    <a:pt x="434" y="127"/>
                  </a:cubicBezTo>
                  <a:cubicBezTo>
                    <a:pt x="324" y="17"/>
                    <a:pt x="145" y="17"/>
                    <a:pt x="35" y="127"/>
                  </a:cubicBezTo>
                  <a:lnTo>
                    <a:pt x="19" y="143"/>
                  </a:lnTo>
                  <a:close/>
                </a:path>
              </a:pathLst>
            </a:custGeom>
            <a:solidFill>
              <a:srgbClr val="BABABA"/>
            </a:solidFill>
            <a:ln w="6350">
              <a:solidFill>
                <a:srgbClr val="BABAB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IntelOne Text" panose="020B0503020203020204" pitchFamily="34" charset="0"/>
                <a:ea typeface="+mn-ea"/>
                <a:cs typeface="+mn-cs"/>
                <a:sym typeface="Helvetica Neue"/>
              </a:endParaRPr>
            </a:p>
          </p:txBody>
        </p:sp>
        <p:sp>
          <p:nvSpPr>
            <p:cNvPr id="808" name="Freeform 131">
              <a:extLst>
                <a:ext uri="{FF2B5EF4-FFF2-40B4-BE49-F238E27FC236}">
                  <a16:creationId xmlns:a16="http://schemas.microsoft.com/office/drawing/2014/main" id="{229A1123-FD11-4756-8394-2092B66B74AC}"/>
                </a:ext>
              </a:extLst>
            </p:cNvPr>
            <p:cNvSpPr>
              <a:spLocks noEditPoints="1"/>
            </p:cNvSpPr>
            <p:nvPr/>
          </p:nvSpPr>
          <p:spPr bwMode="auto">
            <a:xfrm>
              <a:off x="4873934" y="3242743"/>
              <a:ext cx="215306" cy="217288"/>
            </a:xfrm>
            <a:custGeom>
              <a:avLst/>
              <a:gdLst>
                <a:gd name="T0" fmla="*/ 85 w 170"/>
                <a:gd name="T1" fmla="*/ 0 h 171"/>
                <a:gd name="T2" fmla="*/ 0 w 170"/>
                <a:gd name="T3" fmla="*/ 85 h 171"/>
                <a:gd name="T4" fmla="*/ 85 w 170"/>
                <a:gd name="T5" fmla="*/ 171 h 171"/>
                <a:gd name="T6" fmla="*/ 170 w 170"/>
                <a:gd name="T7" fmla="*/ 85 h 171"/>
                <a:gd name="T8" fmla="*/ 85 w 170"/>
                <a:gd name="T9" fmla="*/ 0 h 171"/>
                <a:gd name="T10" fmla="*/ 85 w 170"/>
                <a:gd name="T11" fmla="*/ 159 h 171"/>
                <a:gd name="T12" fmla="*/ 12 w 170"/>
                <a:gd name="T13" fmla="*/ 85 h 171"/>
                <a:gd name="T14" fmla="*/ 85 w 170"/>
                <a:gd name="T15" fmla="*/ 12 h 171"/>
                <a:gd name="T16" fmla="*/ 158 w 170"/>
                <a:gd name="T17" fmla="*/ 85 h 171"/>
                <a:gd name="T18" fmla="*/ 85 w 170"/>
                <a:gd name="T19" fmla="*/ 15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1">
                  <a:moveTo>
                    <a:pt x="85" y="0"/>
                  </a:moveTo>
                  <a:cubicBezTo>
                    <a:pt x="38" y="0"/>
                    <a:pt x="0" y="38"/>
                    <a:pt x="0" y="85"/>
                  </a:cubicBezTo>
                  <a:cubicBezTo>
                    <a:pt x="0" y="132"/>
                    <a:pt x="38" y="171"/>
                    <a:pt x="85" y="171"/>
                  </a:cubicBezTo>
                  <a:cubicBezTo>
                    <a:pt x="132" y="171"/>
                    <a:pt x="170" y="132"/>
                    <a:pt x="170" y="85"/>
                  </a:cubicBezTo>
                  <a:cubicBezTo>
                    <a:pt x="170" y="38"/>
                    <a:pt x="132" y="0"/>
                    <a:pt x="85" y="0"/>
                  </a:cubicBezTo>
                  <a:close/>
                  <a:moveTo>
                    <a:pt x="85" y="159"/>
                  </a:moveTo>
                  <a:cubicBezTo>
                    <a:pt x="45" y="159"/>
                    <a:pt x="12" y="126"/>
                    <a:pt x="12" y="85"/>
                  </a:cubicBezTo>
                  <a:cubicBezTo>
                    <a:pt x="12" y="45"/>
                    <a:pt x="45" y="12"/>
                    <a:pt x="85" y="12"/>
                  </a:cubicBezTo>
                  <a:cubicBezTo>
                    <a:pt x="126" y="12"/>
                    <a:pt x="158" y="45"/>
                    <a:pt x="158" y="85"/>
                  </a:cubicBezTo>
                  <a:cubicBezTo>
                    <a:pt x="158" y="126"/>
                    <a:pt x="126" y="159"/>
                    <a:pt x="85" y="159"/>
                  </a:cubicBezTo>
                  <a:close/>
                </a:path>
              </a:pathLst>
            </a:custGeom>
            <a:solidFill>
              <a:srgbClr val="BABABA"/>
            </a:solidFill>
            <a:ln w="6350">
              <a:solidFill>
                <a:srgbClr val="BABAB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IntelOne Text" panose="020B0503020203020204" pitchFamily="34" charset="0"/>
                <a:ea typeface="+mn-ea"/>
                <a:cs typeface="+mn-cs"/>
                <a:sym typeface="Helvetica Neue"/>
              </a:endParaRPr>
            </a:p>
          </p:txBody>
        </p:sp>
        <p:sp>
          <p:nvSpPr>
            <p:cNvPr id="809" name="Freeform 132">
              <a:extLst>
                <a:ext uri="{FF2B5EF4-FFF2-40B4-BE49-F238E27FC236}">
                  <a16:creationId xmlns:a16="http://schemas.microsoft.com/office/drawing/2014/main" id="{2529E800-11A0-48D9-9B65-9E1C300F2450}"/>
                </a:ext>
              </a:extLst>
            </p:cNvPr>
            <p:cNvSpPr>
              <a:spLocks/>
            </p:cNvSpPr>
            <p:nvPr/>
          </p:nvSpPr>
          <p:spPr bwMode="auto">
            <a:xfrm>
              <a:off x="4988191" y="3307467"/>
              <a:ext cx="74631" cy="119541"/>
            </a:xfrm>
            <a:custGeom>
              <a:avLst/>
              <a:gdLst>
                <a:gd name="T0" fmla="*/ 41 w 59"/>
                <a:gd name="T1" fmla="*/ 0 h 94"/>
                <a:gd name="T2" fmla="*/ 57 w 59"/>
                <a:gd name="T3" fmla="*/ 27 h 94"/>
                <a:gd name="T4" fmla="*/ 54 w 59"/>
                <a:gd name="T5" fmla="*/ 61 h 94"/>
                <a:gd name="T6" fmla="*/ 31 w 59"/>
                <a:gd name="T7" fmla="*/ 86 h 94"/>
                <a:gd name="T8" fmla="*/ 0 w 59"/>
                <a:gd name="T9" fmla="*/ 92 h 94"/>
                <a:gd name="T10" fmla="*/ 22 w 59"/>
                <a:gd name="T11" fmla="*/ 73 h 94"/>
                <a:gd name="T12" fmla="*/ 35 w 59"/>
                <a:gd name="T13" fmla="*/ 53 h 94"/>
                <a:gd name="T14" fmla="*/ 41 w 59"/>
                <a:gd name="T15" fmla="*/ 28 h 94"/>
                <a:gd name="T16" fmla="*/ 41 w 59"/>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94">
                  <a:moveTo>
                    <a:pt x="41" y="0"/>
                  </a:moveTo>
                  <a:cubicBezTo>
                    <a:pt x="49" y="6"/>
                    <a:pt x="54" y="16"/>
                    <a:pt x="57" y="27"/>
                  </a:cubicBezTo>
                  <a:cubicBezTo>
                    <a:pt x="59" y="38"/>
                    <a:pt x="58" y="50"/>
                    <a:pt x="54" y="61"/>
                  </a:cubicBezTo>
                  <a:cubicBezTo>
                    <a:pt x="49" y="71"/>
                    <a:pt x="41" y="80"/>
                    <a:pt x="31" y="86"/>
                  </a:cubicBezTo>
                  <a:cubicBezTo>
                    <a:pt x="22" y="91"/>
                    <a:pt x="10" y="94"/>
                    <a:pt x="0" y="92"/>
                  </a:cubicBezTo>
                  <a:cubicBezTo>
                    <a:pt x="9" y="86"/>
                    <a:pt x="16" y="80"/>
                    <a:pt x="22" y="73"/>
                  </a:cubicBezTo>
                  <a:cubicBezTo>
                    <a:pt x="27" y="67"/>
                    <a:pt x="32" y="60"/>
                    <a:pt x="35" y="53"/>
                  </a:cubicBezTo>
                  <a:cubicBezTo>
                    <a:pt x="38" y="45"/>
                    <a:pt x="40" y="37"/>
                    <a:pt x="41" y="28"/>
                  </a:cubicBezTo>
                  <a:cubicBezTo>
                    <a:pt x="42" y="20"/>
                    <a:pt x="41" y="10"/>
                    <a:pt x="41" y="0"/>
                  </a:cubicBezTo>
                  <a:close/>
                </a:path>
              </a:pathLst>
            </a:custGeom>
            <a:solidFill>
              <a:srgbClr val="BABABA"/>
            </a:solidFill>
            <a:ln w="6350">
              <a:solidFill>
                <a:srgbClr val="BABAB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IntelOne Text" panose="020B0503020203020204" pitchFamily="34" charset="0"/>
                <a:ea typeface="+mn-ea"/>
                <a:cs typeface="+mn-cs"/>
                <a:sym typeface="Helvetica Neue"/>
              </a:endParaRPr>
            </a:p>
          </p:txBody>
        </p:sp>
        <p:sp>
          <p:nvSpPr>
            <p:cNvPr id="810" name="Freeform: Shape 809">
              <a:extLst>
                <a:ext uri="{FF2B5EF4-FFF2-40B4-BE49-F238E27FC236}">
                  <a16:creationId xmlns:a16="http://schemas.microsoft.com/office/drawing/2014/main" id="{3CF429FB-ADE6-4F3F-B6C2-733F58BCC4DA}"/>
                </a:ext>
              </a:extLst>
            </p:cNvPr>
            <p:cNvSpPr>
              <a:spLocks/>
            </p:cNvSpPr>
            <p:nvPr/>
          </p:nvSpPr>
          <p:spPr bwMode="auto">
            <a:xfrm>
              <a:off x="4667873" y="2999698"/>
              <a:ext cx="627426" cy="225874"/>
            </a:xfrm>
            <a:custGeom>
              <a:avLst/>
              <a:gdLst>
                <a:gd name="connsiteX0" fmla="*/ 597046 w 627426"/>
                <a:gd name="connsiteY0" fmla="*/ 71989 h 225874"/>
                <a:gd name="connsiteX1" fmla="*/ 627426 w 627426"/>
                <a:gd name="connsiteY1" fmla="*/ 158508 h 225874"/>
                <a:gd name="connsiteX2" fmla="*/ 613557 w 627426"/>
                <a:gd name="connsiteY2" fmla="*/ 163791 h 225874"/>
                <a:gd name="connsiteX3" fmla="*/ 592597 w 627426"/>
                <a:gd name="connsiteY3" fmla="*/ 104220 h 225874"/>
                <a:gd name="connsiteX4" fmla="*/ 538926 w 627426"/>
                <a:gd name="connsiteY4" fmla="*/ 225874 h 225874"/>
                <a:gd name="connsiteX5" fmla="*/ 525056 w 627426"/>
                <a:gd name="connsiteY5" fmla="*/ 220591 h 225874"/>
                <a:gd name="connsiteX6" fmla="*/ 579584 w 627426"/>
                <a:gd name="connsiteY6" fmla="*/ 96389 h 225874"/>
                <a:gd name="connsiteX7" fmla="*/ 519773 w 627426"/>
                <a:gd name="connsiteY7" fmla="*/ 122843 h 225874"/>
                <a:gd name="connsiteX8" fmla="*/ 513829 w 627426"/>
                <a:gd name="connsiteY8" fmla="*/ 108974 h 225874"/>
                <a:gd name="connsiteX9" fmla="*/ 30381 w 627426"/>
                <a:gd name="connsiteY9" fmla="*/ 71989 h 225874"/>
                <a:gd name="connsiteX10" fmla="*/ 30381 w 627426"/>
                <a:gd name="connsiteY10" fmla="*/ 71989 h 225874"/>
                <a:gd name="connsiteX11" fmla="*/ 113597 w 627426"/>
                <a:gd name="connsiteY11" fmla="*/ 108974 h 225874"/>
                <a:gd name="connsiteX12" fmla="*/ 107653 w 627426"/>
                <a:gd name="connsiteY12" fmla="*/ 122843 h 225874"/>
                <a:gd name="connsiteX13" fmla="*/ 47843 w 627426"/>
                <a:gd name="connsiteY13" fmla="*/ 96389 h 225874"/>
                <a:gd name="connsiteX14" fmla="*/ 102370 w 627426"/>
                <a:gd name="connsiteY14" fmla="*/ 220591 h 225874"/>
                <a:gd name="connsiteX15" fmla="*/ 88501 w 627426"/>
                <a:gd name="connsiteY15" fmla="*/ 225874 h 225874"/>
                <a:gd name="connsiteX16" fmla="*/ 34830 w 627426"/>
                <a:gd name="connsiteY16" fmla="*/ 104220 h 225874"/>
                <a:gd name="connsiteX17" fmla="*/ 13870 w 627426"/>
                <a:gd name="connsiteY17" fmla="*/ 163791 h 225874"/>
                <a:gd name="connsiteX18" fmla="*/ 0 w 627426"/>
                <a:gd name="connsiteY18" fmla="*/ 158508 h 225874"/>
                <a:gd name="connsiteX19" fmla="*/ 313713 w 627426"/>
                <a:gd name="connsiteY19" fmla="*/ 0 h 225874"/>
                <a:gd name="connsiteX20" fmla="*/ 375795 w 627426"/>
                <a:gd name="connsiteY20" fmla="*/ 67365 h 225874"/>
                <a:gd name="connsiteX21" fmla="*/ 364568 w 627426"/>
                <a:gd name="connsiteY21" fmla="*/ 77272 h 225874"/>
                <a:gd name="connsiteX22" fmla="*/ 320978 w 627426"/>
                <a:gd name="connsiteY22" fmla="*/ 30852 h 225874"/>
                <a:gd name="connsiteX23" fmla="*/ 320978 w 627426"/>
                <a:gd name="connsiteY23" fmla="*/ 164451 h 225874"/>
                <a:gd name="connsiteX24" fmla="*/ 305788 w 627426"/>
                <a:gd name="connsiteY24" fmla="*/ 164451 h 225874"/>
                <a:gd name="connsiteX25" fmla="*/ 305788 w 627426"/>
                <a:gd name="connsiteY25" fmla="*/ 31555 h 225874"/>
                <a:gd name="connsiteX26" fmla="*/ 262859 w 627426"/>
                <a:gd name="connsiteY26" fmla="*/ 77272 h 225874"/>
                <a:gd name="connsiteX27" fmla="*/ 251631 w 627426"/>
                <a:gd name="connsiteY27" fmla="*/ 67365 h 22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7426" h="225874">
                  <a:moveTo>
                    <a:pt x="597046" y="71989"/>
                  </a:moveTo>
                  <a:lnTo>
                    <a:pt x="627426" y="158508"/>
                  </a:lnTo>
                  <a:lnTo>
                    <a:pt x="613557" y="163791"/>
                  </a:lnTo>
                  <a:lnTo>
                    <a:pt x="592597" y="104220"/>
                  </a:lnTo>
                  <a:lnTo>
                    <a:pt x="538926" y="225874"/>
                  </a:lnTo>
                  <a:lnTo>
                    <a:pt x="525056" y="220591"/>
                  </a:lnTo>
                  <a:lnTo>
                    <a:pt x="579584" y="96389"/>
                  </a:lnTo>
                  <a:lnTo>
                    <a:pt x="519773" y="122843"/>
                  </a:lnTo>
                  <a:lnTo>
                    <a:pt x="513829" y="108974"/>
                  </a:lnTo>
                  <a:close/>
                  <a:moveTo>
                    <a:pt x="30381" y="71989"/>
                  </a:moveTo>
                  <a:lnTo>
                    <a:pt x="30381" y="71989"/>
                  </a:lnTo>
                  <a:lnTo>
                    <a:pt x="113597" y="108974"/>
                  </a:lnTo>
                  <a:lnTo>
                    <a:pt x="107653" y="122843"/>
                  </a:lnTo>
                  <a:lnTo>
                    <a:pt x="47843" y="96389"/>
                  </a:lnTo>
                  <a:lnTo>
                    <a:pt x="102370" y="220591"/>
                  </a:lnTo>
                  <a:lnTo>
                    <a:pt x="88501" y="225874"/>
                  </a:lnTo>
                  <a:lnTo>
                    <a:pt x="34830" y="104220"/>
                  </a:lnTo>
                  <a:lnTo>
                    <a:pt x="13870" y="163791"/>
                  </a:lnTo>
                  <a:lnTo>
                    <a:pt x="0" y="158508"/>
                  </a:lnTo>
                  <a:close/>
                  <a:moveTo>
                    <a:pt x="313713" y="0"/>
                  </a:moveTo>
                  <a:lnTo>
                    <a:pt x="375795" y="67365"/>
                  </a:lnTo>
                  <a:lnTo>
                    <a:pt x="364568" y="77272"/>
                  </a:lnTo>
                  <a:lnTo>
                    <a:pt x="320978" y="30852"/>
                  </a:lnTo>
                  <a:lnTo>
                    <a:pt x="320978" y="164451"/>
                  </a:lnTo>
                  <a:lnTo>
                    <a:pt x="305788" y="164451"/>
                  </a:lnTo>
                  <a:lnTo>
                    <a:pt x="305788" y="31555"/>
                  </a:lnTo>
                  <a:lnTo>
                    <a:pt x="262859" y="77272"/>
                  </a:lnTo>
                  <a:lnTo>
                    <a:pt x="251631" y="67365"/>
                  </a:lnTo>
                  <a:close/>
                </a:path>
              </a:pathLst>
            </a:custGeom>
            <a:grpFill/>
            <a:ln w="6350">
              <a:solidFill>
                <a:srgbClr val="D96930"/>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IntelOne Text" panose="020B0503020203020204" pitchFamily="34" charset="0"/>
                <a:ea typeface="+mn-ea"/>
                <a:cs typeface="+mn-cs"/>
                <a:sym typeface="Helvetica Neue"/>
              </a:endParaRPr>
            </a:p>
          </p:txBody>
        </p:sp>
        <p:sp>
          <p:nvSpPr>
            <p:cNvPr id="811" name="Freeform: Shape 810">
              <a:extLst>
                <a:ext uri="{FF2B5EF4-FFF2-40B4-BE49-F238E27FC236}">
                  <a16:creationId xmlns:a16="http://schemas.microsoft.com/office/drawing/2014/main" id="{D9BD6082-107F-41D7-8214-BC8CE44440A7}"/>
                </a:ext>
              </a:extLst>
            </p:cNvPr>
            <p:cNvSpPr>
              <a:spLocks/>
            </p:cNvSpPr>
            <p:nvPr/>
          </p:nvSpPr>
          <p:spPr bwMode="auto">
            <a:xfrm rot="10800000">
              <a:off x="4667873" y="3471806"/>
              <a:ext cx="627426" cy="225874"/>
            </a:xfrm>
            <a:custGeom>
              <a:avLst/>
              <a:gdLst>
                <a:gd name="connsiteX0" fmla="*/ 597046 w 627426"/>
                <a:gd name="connsiteY0" fmla="*/ 71989 h 225874"/>
                <a:gd name="connsiteX1" fmla="*/ 627426 w 627426"/>
                <a:gd name="connsiteY1" fmla="*/ 158508 h 225874"/>
                <a:gd name="connsiteX2" fmla="*/ 613557 w 627426"/>
                <a:gd name="connsiteY2" fmla="*/ 163791 h 225874"/>
                <a:gd name="connsiteX3" fmla="*/ 592597 w 627426"/>
                <a:gd name="connsiteY3" fmla="*/ 104220 h 225874"/>
                <a:gd name="connsiteX4" fmla="*/ 538926 w 627426"/>
                <a:gd name="connsiteY4" fmla="*/ 225874 h 225874"/>
                <a:gd name="connsiteX5" fmla="*/ 525056 w 627426"/>
                <a:gd name="connsiteY5" fmla="*/ 220591 h 225874"/>
                <a:gd name="connsiteX6" fmla="*/ 579584 w 627426"/>
                <a:gd name="connsiteY6" fmla="*/ 96389 h 225874"/>
                <a:gd name="connsiteX7" fmla="*/ 519773 w 627426"/>
                <a:gd name="connsiteY7" fmla="*/ 122843 h 225874"/>
                <a:gd name="connsiteX8" fmla="*/ 513829 w 627426"/>
                <a:gd name="connsiteY8" fmla="*/ 108974 h 225874"/>
                <a:gd name="connsiteX9" fmla="*/ 30381 w 627426"/>
                <a:gd name="connsiteY9" fmla="*/ 71989 h 225874"/>
                <a:gd name="connsiteX10" fmla="*/ 30381 w 627426"/>
                <a:gd name="connsiteY10" fmla="*/ 71989 h 225874"/>
                <a:gd name="connsiteX11" fmla="*/ 113597 w 627426"/>
                <a:gd name="connsiteY11" fmla="*/ 108974 h 225874"/>
                <a:gd name="connsiteX12" fmla="*/ 107653 w 627426"/>
                <a:gd name="connsiteY12" fmla="*/ 122843 h 225874"/>
                <a:gd name="connsiteX13" fmla="*/ 47843 w 627426"/>
                <a:gd name="connsiteY13" fmla="*/ 96389 h 225874"/>
                <a:gd name="connsiteX14" fmla="*/ 102370 w 627426"/>
                <a:gd name="connsiteY14" fmla="*/ 220591 h 225874"/>
                <a:gd name="connsiteX15" fmla="*/ 88501 w 627426"/>
                <a:gd name="connsiteY15" fmla="*/ 225874 h 225874"/>
                <a:gd name="connsiteX16" fmla="*/ 34830 w 627426"/>
                <a:gd name="connsiteY16" fmla="*/ 104220 h 225874"/>
                <a:gd name="connsiteX17" fmla="*/ 13870 w 627426"/>
                <a:gd name="connsiteY17" fmla="*/ 163791 h 225874"/>
                <a:gd name="connsiteX18" fmla="*/ 0 w 627426"/>
                <a:gd name="connsiteY18" fmla="*/ 158508 h 225874"/>
                <a:gd name="connsiteX19" fmla="*/ 313713 w 627426"/>
                <a:gd name="connsiteY19" fmla="*/ 0 h 225874"/>
                <a:gd name="connsiteX20" fmla="*/ 375795 w 627426"/>
                <a:gd name="connsiteY20" fmla="*/ 67365 h 225874"/>
                <a:gd name="connsiteX21" fmla="*/ 364568 w 627426"/>
                <a:gd name="connsiteY21" fmla="*/ 77272 h 225874"/>
                <a:gd name="connsiteX22" fmla="*/ 320978 w 627426"/>
                <a:gd name="connsiteY22" fmla="*/ 30852 h 225874"/>
                <a:gd name="connsiteX23" fmla="*/ 320978 w 627426"/>
                <a:gd name="connsiteY23" fmla="*/ 164451 h 225874"/>
                <a:gd name="connsiteX24" fmla="*/ 305788 w 627426"/>
                <a:gd name="connsiteY24" fmla="*/ 164451 h 225874"/>
                <a:gd name="connsiteX25" fmla="*/ 305788 w 627426"/>
                <a:gd name="connsiteY25" fmla="*/ 31555 h 225874"/>
                <a:gd name="connsiteX26" fmla="*/ 262859 w 627426"/>
                <a:gd name="connsiteY26" fmla="*/ 77272 h 225874"/>
                <a:gd name="connsiteX27" fmla="*/ 251631 w 627426"/>
                <a:gd name="connsiteY27" fmla="*/ 67365 h 225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7426" h="225874">
                  <a:moveTo>
                    <a:pt x="597046" y="71989"/>
                  </a:moveTo>
                  <a:lnTo>
                    <a:pt x="627426" y="158508"/>
                  </a:lnTo>
                  <a:lnTo>
                    <a:pt x="613557" y="163791"/>
                  </a:lnTo>
                  <a:lnTo>
                    <a:pt x="592597" y="104220"/>
                  </a:lnTo>
                  <a:lnTo>
                    <a:pt x="538926" y="225874"/>
                  </a:lnTo>
                  <a:lnTo>
                    <a:pt x="525056" y="220591"/>
                  </a:lnTo>
                  <a:lnTo>
                    <a:pt x="579584" y="96389"/>
                  </a:lnTo>
                  <a:lnTo>
                    <a:pt x="519773" y="122843"/>
                  </a:lnTo>
                  <a:lnTo>
                    <a:pt x="513829" y="108974"/>
                  </a:lnTo>
                  <a:close/>
                  <a:moveTo>
                    <a:pt x="30381" y="71989"/>
                  </a:moveTo>
                  <a:lnTo>
                    <a:pt x="30381" y="71989"/>
                  </a:lnTo>
                  <a:lnTo>
                    <a:pt x="113597" y="108974"/>
                  </a:lnTo>
                  <a:lnTo>
                    <a:pt x="107653" y="122843"/>
                  </a:lnTo>
                  <a:lnTo>
                    <a:pt x="47843" y="96389"/>
                  </a:lnTo>
                  <a:lnTo>
                    <a:pt x="102370" y="220591"/>
                  </a:lnTo>
                  <a:lnTo>
                    <a:pt x="88501" y="225874"/>
                  </a:lnTo>
                  <a:lnTo>
                    <a:pt x="34830" y="104220"/>
                  </a:lnTo>
                  <a:lnTo>
                    <a:pt x="13870" y="163791"/>
                  </a:lnTo>
                  <a:lnTo>
                    <a:pt x="0" y="158508"/>
                  </a:lnTo>
                  <a:close/>
                  <a:moveTo>
                    <a:pt x="313713" y="0"/>
                  </a:moveTo>
                  <a:lnTo>
                    <a:pt x="375795" y="67365"/>
                  </a:lnTo>
                  <a:lnTo>
                    <a:pt x="364568" y="77272"/>
                  </a:lnTo>
                  <a:lnTo>
                    <a:pt x="320978" y="30852"/>
                  </a:lnTo>
                  <a:lnTo>
                    <a:pt x="320978" y="164451"/>
                  </a:lnTo>
                  <a:lnTo>
                    <a:pt x="305788" y="164451"/>
                  </a:lnTo>
                  <a:lnTo>
                    <a:pt x="305788" y="31555"/>
                  </a:lnTo>
                  <a:lnTo>
                    <a:pt x="262859" y="77272"/>
                  </a:lnTo>
                  <a:lnTo>
                    <a:pt x="251631" y="67365"/>
                  </a:lnTo>
                  <a:close/>
                </a:path>
              </a:pathLst>
            </a:custGeom>
            <a:grpFill/>
            <a:ln w="6350">
              <a:solidFill>
                <a:srgbClr val="D96930"/>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IntelOne Text" panose="020B0503020203020204" pitchFamily="34" charset="0"/>
                <a:ea typeface="+mn-ea"/>
                <a:cs typeface="+mn-cs"/>
                <a:sym typeface="Helvetica Neue"/>
              </a:endParaRPr>
            </a:p>
          </p:txBody>
        </p:sp>
      </p:grpSp>
      <p:sp>
        <p:nvSpPr>
          <p:cNvPr id="130" name="Rectangle 129">
            <a:extLst>
              <a:ext uri="{FF2B5EF4-FFF2-40B4-BE49-F238E27FC236}">
                <a16:creationId xmlns:a16="http://schemas.microsoft.com/office/drawing/2014/main" id="{D1505931-F577-4B19-9EE5-BB951E2F5980}"/>
              </a:ext>
              <a:ext uri="{C183D7F6-B498-43B3-948B-1728B52AA6E4}">
                <adec:decorative xmlns:adec="http://schemas.microsoft.com/office/drawing/2017/decorative" val="1"/>
              </a:ext>
            </a:extLst>
          </p:cNvPr>
          <p:cNvSpPr/>
          <p:nvPr/>
        </p:nvSpPr>
        <p:spPr>
          <a:xfrm>
            <a:off x="250528" y="5477252"/>
            <a:ext cx="182880" cy="182880"/>
          </a:xfrm>
          <a:prstGeom prst="rect">
            <a:avLst/>
          </a:prstGeom>
          <a:solidFill>
            <a:srgbClr val="D9693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p:txBody>
      </p:sp>
      <p:grpSp>
        <p:nvGrpSpPr>
          <p:cNvPr id="12" name="Group 11">
            <a:extLst>
              <a:ext uri="{FF2B5EF4-FFF2-40B4-BE49-F238E27FC236}">
                <a16:creationId xmlns:a16="http://schemas.microsoft.com/office/drawing/2014/main" id="{35D95461-C0D4-4630-92CB-1EA418DDEBBE}"/>
              </a:ext>
              <a:ext uri="{C183D7F6-B498-43B3-948B-1728B52AA6E4}">
                <adec:decorative xmlns:adec="http://schemas.microsoft.com/office/drawing/2017/decorative" val="1"/>
              </a:ext>
            </a:extLst>
          </p:cNvPr>
          <p:cNvGrpSpPr/>
          <p:nvPr/>
        </p:nvGrpSpPr>
        <p:grpSpPr>
          <a:xfrm>
            <a:off x="210634" y="4751460"/>
            <a:ext cx="485942" cy="482849"/>
            <a:chOff x="-2843009" y="4559269"/>
            <a:chExt cx="1646380" cy="1635903"/>
          </a:xfrm>
          <a:solidFill>
            <a:srgbClr val="BABABA"/>
          </a:solidFill>
        </p:grpSpPr>
        <p:sp>
          <p:nvSpPr>
            <p:cNvPr id="7" name="Freeform: Shape 6">
              <a:extLst>
                <a:ext uri="{FF2B5EF4-FFF2-40B4-BE49-F238E27FC236}">
                  <a16:creationId xmlns:a16="http://schemas.microsoft.com/office/drawing/2014/main" id="{DC463C34-A311-4816-808E-F04D07A126F4}"/>
                </a:ext>
              </a:extLst>
            </p:cNvPr>
            <p:cNvSpPr/>
            <p:nvPr/>
          </p:nvSpPr>
          <p:spPr>
            <a:xfrm>
              <a:off x="-2349578" y="4559269"/>
              <a:ext cx="656641" cy="669531"/>
            </a:xfrm>
            <a:custGeom>
              <a:avLst/>
              <a:gdLst>
                <a:gd name="connsiteX0" fmla="*/ 130292 w 656641"/>
                <a:gd name="connsiteY0" fmla="*/ 465346 h 669531"/>
                <a:gd name="connsiteX1" fmla="*/ 242514 w 656641"/>
                <a:gd name="connsiteY1" fmla="*/ 353239 h 669531"/>
                <a:gd name="connsiteX2" fmla="*/ 242514 w 656641"/>
                <a:gd name="connsiteY2" fmla="*/ 669532 h 669531"/>
                <a:gd name="connsiteX3" fmla="*/ 426788 w 656641"/>
                <a:gd name="connsiteY3" fmla="*/ 669532 h 669531"/>
                <a:gd name="connsiteX4" fmla="*/ 426788 w 656641"/>
                <a:gd name="connsiteY4" fmla="*/ 351398 h 669531"/>
                <a:gd name="connsiteX5" fmla="*/ 526464 w 656641"/>
                <a:gd name="connsiteY5" fmla="*/ 450613 h 669531"/>
                <a:gd name="connsiteX6" fmla="*/ 656642 w 656641"/>
                <a:gd name="connsiteY6" fmla="*/ 320551 h 669531"/>
                <a:gd name="connsiteX7" fmla="*/ 335745 w 656641"/>
                <a:gd name="connsiteY7" fmla="*/ 0 h 669531"/>
                <a:gd name="connsiteX8" fmla="*/ 0 w 656641"/>
                <a:gd name="connsiteY8" fmla="*/ 335284 h 669531"/>
                <a:gd name="connsiteX9" fmla="*/ 130292 w 656641"/>
                <a:gd name="connsiteY9" fmla="*/ 465346 h 66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641" h="669531">
                  <a:moveTo>
                    <a:pt x="130292" y="465346"/>
                  </a:moveTo>
                  <a:lnTo>
                    <a:pt x="242514" y="353239"/>
                  </a:lnTo>
                  <a:lnTo>
                    <a:pt x="242514" y="669532"/>
                  </a:lnTo>
                  <a:lnTo>
                    <a:pt x="426788" y="669532"/>
                  </a:lnTo>
                  <a:lnTo>
                    <a:pt x="426788" y="351398"/>
                  </a:lnTo>
                  <a:lnTo>
                    <a:pt x="526464" y="450613"/>
                  </a:lnTo>
                  <a:lnTo>
                    <a:pt x="656642" y="320551"/>
                  </a:lnTo>
                  <a:lnTo>
                    <a:pt x="335745" y="0"/>
                  </a:lnTo>
                  <a:lnTo>
                    <a:pt x="0" y="335284"/>
                  </a:lnTo>
                  <a:lnTo>
                    <a:pt x="130292" y="465346"/>
                  </a:lnTo>
                  <a:close/>
                </a:path>
              </a:pathLst>
            </a:custGeom>
            <a:grpFill/>
            <a:ln w="11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 name="Freeform: Shape 7">
              <a:extLst>
                <a:ext uri="{FF2B5EF4-FFF2-40B4-BE49-F238E27FC236}">
                  <a16:creationId xmlns:a16="http://schemas.microsoft.com/office/drawing/2014/main" id="{58BCC68F-8A55-4E03-828A-78DECABF880D}"/>
                </a:ext>
              </a:extLst>
            </p:cNvPr>
            <p:cNvSpPr/>
            <p:nvPr/>
          </p:nvSpPr>
          <p:spPr>
            <a:xfrm>
              <a:off x="-2338068" y="5525641"/>
              <a:ext cx="656641" cy="669531"/>
            </a:xfrm>
            <a:custGeom>
              <a:avLst/>
              <a:gdLst>
                <a:gd name="connsiteX0" fmla="*/ 526464 w 656641"/>
                <a:gd name="connsiteY0" fmla="*/ 204071 h 669531"/>
                <a:gd name="connsiteX1" fmla="*/ 414127 w 656641"/>
                <a:gd name="connsiteY1" fmla="*/ 316293 h 669531"/>
                <a:gd name="connsiteX2" fmla="*/ 414127 w 656641"/>
                <a:gd name="connsiteY2" fmla="*/ 0 h 669531"/>
                <a:gd name="connsiteX3" fmla="*/ 229968 w 656641"/>
                <a:gd name="connsiteY3" fmla="*/ 0 h 669531"/>
                <a:gd name="connsiteX4" fmla="*/ 229968 w 656641"/>
                <a:gd name="connsiteY4" fmla="*/ 318134 h 669531"/>
                <a:gd name="connsiteX5" fmla="*/ 130292 w 656641"/>
                <a:gd name="connsiteY5" fmla="*/ 218919 h 669531"/>
                <a:gd name="connsiteX6" fmla="*/ 0 w 656641"/>
                <a:gd name="connsiteY6" fmla="*/ 348981 h 669531"/>
                <a:gd name="connsiteX7" fmla="*/ 321012 w 656641"/>
                <a:gd name="connsiteY7" fmla="*/ 669532 h 669531"/>
                <a:gd name="connsiteX8" fmla="*/ 656642 w 656641"/>
                <a:gd name="connsiteY8" fmla="*/ 334248 h 669531"/>
                <a:gd name="connsiteX9" fmla="*/ 526464 w 656641"/>
                <a:gd name="connsiteY9" fmla="*/ 204071 h 66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641" h="669531">
                  <a:moveTo>
                    <a:pt x="526464" y="204071"/>
                  </a:moveTo>
                  <a:lnTo>
                    <a:pt x="414127" y="316293"/>
                  </a:lnTo>
                  <a:lnTo>
                    <a:pt x="414127" y="0"/>
                  </a:lnTo>
                  <a:lnTo>
                    <a:pt x="229968" y="0"/>
                  </a:lnTo>
                  <a:lnTo>
                    <a:pt x="229968" y="318134"/>
                  </a:lnTo>
                  <a:lnTo>
                    <a:pt x="130292" y="218919"/>
                  </a:lnTo>
                  <a:lnTo>
                    <a:pt x="0" y="348981"/>
                  </a:lnTo>
                  <a:lnTo>
                    <a:pt x="321012" y="669532"/>
                  </a:lnTo>
                  <a:lnTo>
                    <a:pt x="656642" y="334248"/>
                  </a:lnTo>
                  <a:lnTo>
                    <a:pt x="526464" y="204071"/>
                  </a:lnTo>
                  <a:close/>
                </a:path>
              </a:pathLst>
            </a:custGeom>
            <a:grpFill/>
            <a:ln w="11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9" name="Freeform: Shape 8">
              <a:extLst>
                <a:ext uri="{FF2B5EF4-FFF2-40B4-BE49-F238E27FC236}">
                  <a16:creationId xmlns:a16="http://schemas.microsoft.com/office/drawing/2014/main" id="{C595F9BA-5727-4E46-8DA3-AF78F01A98DC}"/>
                </a:ext>
              </a:extLst>
            </p:cNvPr>
            <p:cNvSpPr/>
            <p:nvPr/>
          </p:nvSpPr>
          <p:spPr>
            <a:xfrm>
              <a:off x="-1867082" y="5036124"/>
              <a:ext cx="670453" cy="656525"/>
            </a:xfrm>
            <a:custGeom>
              <a:avLst/>
              <a:gdLst>
                <a:gd name="connsiteX0" fmla="*/ 202805 w 670453"/>
                <a:gd name="connsiteY0" fmla="*/ 131789 h 656525"/>
                <a:gd name="connsiteX1" fmla="*/ 316178 w 670453"/>
                <a:gd name="connsiteY1" fmla="*/ 242744 h 656525"/>
                <a:gd name="connsiteX2" fmla="*/ 0 w 670453"/>
                <a:gd name="connsiteY2" fmla="*/ 246312 h 656525"/>
                <a:gd name="connsiteX3" fmla="*/ 1957 w 670453"/>
                <a:gd name="connsiteY3" fmla="*/ 430471 h 656525"/>
                <a:gd name="connsiteX4" fmla="*/ 320091 w 670453"/>
                <a:gd name="connsiteY4" fmla="*/ 426903 h 656525"/>
                <a:gd name="connsiteX5" fmla="*/ 222027 w 670453"/>
                <a:gd name="connsiteY5" fmla="*/ 527730 h 656525"/>
                <a:gd name="connsiteX6" fmla="*/ 353470 w 670453"/>
                <a:gd name="connsiteY6" fmla="*/ 656526 h 656525"/>
                <a:gd name="connsiteX7" fmla="*/ 670453 w 670453"/>
                <a:gd name="connsiteY7" fmla="*/ 331946 h 656525"/>
                <a:gd name="connsiteX8" fmla="*/ 331486 w 670453"/>
                <a:gd name="connsiteY8" fmla="*/ 0 h 656525"/>
                <a:gd name="connsiteX9" fmla="*/ 202805 w 670453"/>
                <a:gd name="connsiteY9" fmla="*/ 131789 h 65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453" h="656525">
                  <a:moveTo>
                    <a:pt x="202805" y="131789"/>
                  </a:moveTo>
                  <a:lnTo>
                    <a:pt x="316178" y="242744"/>
                  </a:lnTo>
                  <a:lnTo>
                    <a:pt x="0" y="246312"/>
                  </a:lnTo>
                  <a:lnTo>
                    <a:pt x="1957" y="430471"/>
                  </a:lnTo>
                  <a:lnTo>
                    <a:pt x="320091" y="426903"/>
                  </a:lnTo>
                  <a:lnTo>
                    <a:pt x="222027" y="527730"/>
                  </a:lnTo>
                  <a:lnTo>
                    <a:pt x="353470" y="656526"/>
                  </a:lnTo>
                  <a:lnTo>
                    <a:pt x="670453" y="331946"/>
                  </a:lnTo>
                  <a:lnTo>
                    <a:pt x="331486" y="0"/>
                  </a:lnTo>
                  <a:lnTo>
                    <a:pt x="202805" y="131789"/>
                  </a:lnTo>
                  <a:close/>
                </a:path>
              </a:pathLst>
            </a:custGeom>
            <a:grpFill/>
            <a:ln w="11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0" name="Freeform: Shape 9">
              <a:extLst>
                <a:ext uri="{FF2B5EF4-FFF2-40B4-BE49-F238E27FC236}">
                  <a16:creationId xmlns:a16="http://schemas.microsoft.com/office/drawing/2014/main" id="{F1D6DC07-A06D-4897-B5EF-071FCF17527F}"/>
                </a:ext>
              </a:extLst>
            </p:cNvPr>
            <p:cNvSpPr/>
            <p:nvPr/>
          </p:nvSpPr>
          <p:spPr>
            <a:xfrm>
              <a:off x="-2843009" y="5036124"/>
              <a:ext cx="670453" cy="656525"/>
            </a:xfrm>
            <a:custGeom>
              <a:avLst/>
              <a:gdLst>
                <a:gd name="connsiteX0" fmla="*/ 467648 w 670453"/>
                <a:gd name="connsiteY0" fmla="*/ 131789 h 656525"/>
                <a:gd name="connsiteX1" fmla="*/ 354276 w 670453"/>
                <a:gd name="connsiteY1" fmla="*/ 242744 h 656525"/>
                <a:gd name="connsiteX2" fmla="*/ 670453 w 670453"/>
                <a:gd name="connsiteY2" fmla="*/ 246312 h 656525"/>
                <a:gd name="connsiteX3" fmla="*/ 668497 w 670453"/>
                <a:gd name="connsiteY3" fmla="*/ 430471 h 656525"/>
                <a:gd name="connsiteX4" fmla="*/ 350362 w 670453"/>
                <a:gd name="connsiteY4" fmla="*/ 426903 h 656525"/>
                <a:gd name="connsiteX5" fmla="*/ 448542 w 670453"/>
                <a:gd name="connsiteY5" fmla="*/ 527730 h 656525"/>
                <a:gd name="connsiteX6" fmla="*/ 316984 w 670453"/>
                <a:gd name="connsiteY6" fmla="*/ 656526 h 656525"/>
                <a:gd name="connsiteX7" fmla="*/ 0 w 670453"/>
                <a:gd name="connsiteY7" fmla="*/ 331946 h 656525"/>
                <a:gd name="connsiteX8" fmla="*/ 338967 w 670453"/>
                <a:gd name="connsiteY8" fmla="*/ 0 h 656525"/>
                <a:gd name="connsiteX9" fmla="*/ 467648 w 670453"/>
                <a:gd name="connsiteY9" fmla="*/ 131789 h 65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0453" h="656525">
                  <a:moveTo>
                    <a:pt x="467648" y="131789"/>
                  </a:moveTo>
                  <a:lnTo>
                    <a:pt x="354276" y="242744"/>
                  </a:lnTo>
                  <a:lnTo>
                    <a:pt x="670453" y="246312"/>
                  </a:lnTo>
                  <a:lnTo>
                    <a:pt x="668497" y="430471"/>
                  </a:lnTo>
                  <a:lnTo>
                    <a:pt x="350362" y="426903"/>
                  </a:lnTo>
                  <a:lnTo>
                    <a:pt x="448542" y="527730"/>
                  </a:lnTo>
                  <a:lnTo>
                    <a:pt x="316984" y="656526"/>
                  </a:lnTo>
                  <a:lnTo>
                    <a:pt x="0" y="331946"/>
                  </a:lnTo>
                  <a:lnTo>
                    <a:pt x="338967" y="0"/>
                  </a:lnTo>
                  <a:lnTo>
                    <a:pt x="467648" y="131789"/>
                  </a:lnTo>
                  <a:close/>
                </a:path>
              </a:pathLst>
            </a:custGeom>
            <a:grpFill/>
            <a:ln w="11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1" name="Freeform: Shape 10">
              <a:extLst>
                <a:ext uri="{FF2B5EF4-FFF2-40B4-BE49-F238E27FC236}">
                  <a16:creationId xmlns:a16="http://schemas.microsoft.com/office/drawing/2014/main" id="{D6A5C860-4C2E-4A4B-B303-256620CAB9F1}"/>
                </a:ext>
              </a:extLst>
            </p:cNvPr>
            <p:cNvSpPr/>
            <p:nvPr/>
          </p:nvSpPr>
          <p:spPr>
            <a:xfrm>
              <a:off x="-2109250" y="5285084"/>
              <a:ext cx="184619" cy="184158"/>
            </a:xfrm>
            <a:custGeom>
              <a:avLst/>
              <a:gdLst>
                <a:gd name="connsiteX0" fmla="*/ 184619 w 184619"/>
                <a:gd name="connsiteY0" fmla="*/ 184159 h 184158"/>
                <a:gd name="connsiteX1" fmla="*/ 0 w 184619"/>
                <a:gd name="connsiteY1" fmla="*/ 184159 h 184158"/>
                <a:gd name="connsiteX2" fmla="*/ 0 w 184619"/>
                <a:gd name="connsiteY2" fmla="*/ 0 h 184158"/>
                <a:gd name="connsiteX3" fmla="*/ 184619 w 184619"/>
                <a:gd name="connsiteY3" fmla="*/ 0 h 184158"/>
                <a:gd name="connsiteX4" fmla="*/ 184619 w 184619"/>
                <a:gd name="connsiteY4" fmla="*/ 184159 h 1841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19" h="184158">
                  <a:moveTo>
                    <a:pt x="184619" y="184159"/>
                  </a:moveTo>
                  <a:lnTo>
                    <a:pt x="0" y="184159"/>
                  </a:lnTo>
                  <a:lnTo>
                    <a:pt x="0" y="0"/>
                  </a:lnTo>
                  <a:lnTo>
                    <a:pt x="184619" y="0"/>
                  </a:lnTo>
                  <a:lnTo>
                    <a:pt x="184619" y="184159"/>
                  </a:lnTo>
                  <a:close/>
                </a:path>
              </a:pathLst>
            </a:custGeom>
            <a:solidFill>
              <a:srgbClr val="D96930"/>
            </a:solidFill>
            <a:ln w="114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pic>
        <p:nvPicPr>
          <p:cNvPr id="721" name="Picture 2" descr="The Digifort Logo">
            <a:extLst>
              <a:ext uri="{FF2B5EF4-FFF2-40B4-BE49-F238E27FC236}">
                <a16:creationId xmlns:a16="http://schemas.microsoft.com/office/drawing/2014/main" id="{12F1C6AF-9A4B-4B00-8E5E-9AC0D944DE1D}"/>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378121" y="61272"/>
            <a:ext cx="2026303" cy="707359"/>
          </a:xfrm>
          <a:prstGeom prst="rect">
            <a:avLst/>
          </a:prstGeom>
          <a:noFill/>
          <a:extLst>
            <a:ext uri="{909E8E84-426E-40DD-AFC4-6F175D3DCCD1}">
              <a14:hiddenFill xmlns:a14="http://schemas.microsoft.com/office/drawing/2010/main">
                <a:solidFill>
                  <a:srgbClr val="FFFFFF"/>
                </a:solidFill>
              </a14:hiddenFill>
            </a:ext>
          </a:extLst>
        </p:spPr>
      </p:pic>
      <p:sp>
        <p:nvSpPr>
          <p:cNvPr id="119" name="Content Placeholder 47" descr="Solution Overview&#10;">
            <a:extLst>
              <a:ext uri="{FF2B5EF4-FFF2-40B4-BE49-F238E27FC236}">
                <a16:creationId xmlns:a16="http://schemas.microsoft.com/office/drawing/2014/main" id="{88F4DFE7-4A36-4C70-B7AE-E8EE62709AFF}"/>
              </a:ext>
              <a:ext uri="{C183D7F6-B498-43B3-948B-1728B52AA6E4}">
                <adec:decorative xmlns:adec="http://schemas.microsoft.com/office/drawing/2017/decorative" val="0"/>
              </a:ext>
            </a:extLst>
          </p:cNvPr>
          <p:cNvSpPr txBox="1">
            <a:spLocks/>
          </p:cNvSpPr>
          <p:nvPr/>
        </p:nvSpPr>
        <p:spPr>
          <a:xfrm>
            <a:off x="519727" y="1971881"/>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Overview</a:t>
            </a:r>
          </a:p>
        </p:txBody>
      </p:sp>
      <p:sp>
        <p:nvSpPr>
          <p:cNvPr id="116" name="Content Placeholder 47" descr="Designed to meet the growing demand for private, residential, and commercial camera security without taxing local infrastructure, the Digifort IP Security System Digifort Cloud solution creates a centralized data center that allows users to better protect locations and assets. &#10;">
            <a:extLst>
              <a:ext uri="{FF2B5EF4-FFF2-40B4-BE49-F238E27FC236}">
                <a16:creationId xmlns:a16="http://schemas.microsoft.com/office/drawing/2014/main" id="{C2AC699D-29F7-4B50-8568-1EE1392571D2}"/>
              </a:ext>
            </a:extLst>
          </p:cNvPr>
          <p:cNvSpPr txBox="1">
            <a:spLocks/>
          </p:cNvSpPr>
          <p:nvPr/>
        </p:nvSpPr>
        <p:spPr>
          <a:xfrm>
            <a:off x="254997" y="2168333"/>
            <a:ext cx="9179659" cy="422468"/>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a:rPr>
              <a:t>Designed to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meet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a:rPr>
              <a:t>the growing demand for private, residential, and commercial camera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ecurity without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a:rPr>
              <a:t>taxing local infrastructure, the </a:t>
            </a:r>
            <a:r>
              <a:rPr kumimoji="0" lang="en-US" sz="1050" b="0" i="0" u="none" strike="noStrike" kern="1200" cap="none" spc="0" normalizeH="0" baseline="0" noProof="0" err="1">
                <a:ln>
                  <a:noFill/>
                </a:ln>
                <a:solidFill>
                  <a:srgbClr val="525252"/>
                </a:solidFill>
                <a:effectLst/>
                <a:uLnTx/>
                <a:uFillTx/>
                <a:latin typeface="IntelOne Text" panose="020B0503020203020204" pitchFamily="34" charset="0"/>
                <a:ea typeface="+mn-ea"/>
                <a:cs typeface="+mn-cs"/>
                <a:sym typeface="Helvetica"/>
              </a:rPr>
              <a:t>Digifort</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a:rPr>
              <a:t> IP Security System </a:t>
            </a:r>
            <a:r>
              <a:rPr kumimoji="0" lang="en-US" sz="1050" b="0" i="0" u="none" strike="noStrike" kern="1200" cap="none" spc="0" normalizeH="0" baseline="0" noProof="0" err="1">
                <a:ln>
                  <a:noFill/>
                </a:ln>
                <a:solidFill>
                  <a:srgbClr val="525252"/>
                </a:solidFill>
                <a:effectLst/>
                <a:uLnTx/>
                <a:uFillTx/>
                <a:latin typeface="IntelOne Text" panose="020B0503020203020204" pitchFamily="34" charset="0"/>
                <a:ea typeface="+mn-ea"/>
                <a:cs typeface="+mn-cs"/>
                <a:sym typeface="Helvetica"/>
              </a:rPr>
              <a:t>Digifort</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a:rPr>
              <a:t> Cloud solution creates a centralized data center that allows users to better protect locations and assets. </a:t>
            </a:r>
          </a:p>
        </p:txBody>
      </p:sp>
      <p:sp>
        <p:nvSpPr>
          <p:cNvPr id="121" name="Content Placeholder 47" descr="Value Props&#10;">
            <a:extLst>
              <a:ext uri="{FF2B5EF4-FFF2-40B4-BE49-F238E27FC236}">
                <a16:creationId xmlns:a16="http://schemas.microsoft.com/office/drawing/2014/main" id="{60BFA5A5-D83A-48F7-AE2D-8937CDDE07C8}"/>
              </a:ext>
            </a:extLst>
          </p:cNvPr>
          <p:cNvSpPr txBox="1">
            <a:spLocks/>
          </p:cNvSpPr>
          <p:nvPr/>
        </p:nvSpPr>
        <p:spPr>
          <a:xfrm>
            <a:off x="519727" y="2848366"/>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Value Props</a:t>
            </a:r>
          </a:p>
        </p:txBody>
      </p:sp>
      <p:sp>
        <p:nvSpPr>
          <p:cNvPr id="158" name="Rectangle 157" descr="Decrease the total cost of security with an inexpensive security solution that can be integrated with existing cameras, and does not depend on constant maintenance&#10;">
            <a:extLst>
              <a:ext uri="{FF2B5EF4-FFF2-40B4-BE49-F238E27FC236}">
                <a16:creationId xmlns:a16="http://schemas.microsoft.com/office/drawing/2014/main" id="{C0A0F681-C044-455D-939E-B813269362D2}"/>
              </a:ext>
            </a:extLst>
          </p:cNvPr>
          <p:cNvSpPr/>
          <p:nvPr/>
        </p:nvSpPr>
        <p:spPr>
          <a:xfrm>
            <a:off x="724597" y="3217358"/>
            <a:ext cx="2904724" cy="71267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Decrease the total cost of security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with an inexpensive security solution that can be integrated with existing cameras, and does not depend on constant maintenance</a:t>
            </a:r>
          </a:p>
        </p:txBody>
      </p:sp>
      <p:sp>
        <p:nvSpPr>
          <p:cNvPr id="159" name="Rectangle 158" descr="Increase reliability with an enterprise security solution that delivers insightful analytics and operates on a proven cloud architecture&#10;">
            <a:extLst>
              <a:ext uri="{FF2B5EF4-FFF2-40B4-BE49-F238E27FC236}">
                <a16:creationId xmlns:a16="http://schemas.microsoft.com/office/drawing/2014/main" id="{65947547-6156-4610-A402-69E040C347D9}"/>
              </a:ext>
            </a:extLst>
          </p:cNvPr>
          <p:cNvSpPr/>
          <p:nvPr/>
        </p:nvSpPr>
        <p:spPr>
          <a:xfrm>
            <a:off x="724597" y="3995394"/>
            <a:ext cx="2904723" cy="679362"/>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Increase reliability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with an enterprise security solution that delivers insightful analytics and operates on a proven cloud architecture</a:t>
            </a:r>
          </a:p>
        </p:txBody>
      </p:sp>
      <p:sp>
        <p:nvSpPr>
          <p:cNvPr id="160" name="Rectangle 159" descr="Deploy quickly and effectively with an intuitive all-in-one solution that is easy to configure and operate&#10;">
            <a:extLst>
              <a:ext uri="{FF2B5EF4-FFF2-40B4-BE49-F238E27FC236}">
                <a16:creationId xmlns:a16="http://schemas.microsoft.com/office/drawing/2014/main" id="{2EA51249-090E-4056-9EE0-23A7333949AB}"/>
              </a:ext>
            </a:extLst>
          </p:cNvPr>
          <p:cNvSpPr/>
          <p:nvPr/>
        </p:nvSpPr>
        <p:spPr>
          <a:xfrm>
            <a:off x="724597" y="4740116"/>
            <a:ext cx="2904723"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sym typeface="Helvetica Neue"/>
              </a:rPr>
              <a:t>Deploy quickly and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effectively with an intuitive all-in-one solution that is easy to configure and operate</a:t>
            </a:r>
          </a:p>
        </p:txBody>
      </p:sp>
      <p:sp>
        <p:nvSpPr>
          <p:cNvPr id="131" name="Content Placeholder 47" descr="Kit Components&#10;">
            <a:extLst>
              <a:ext uri="{FF2B5EF4-FFF2-40B4-BE49-F238E27FC236}">
                <a16:creationId xmlns:a16="http://schemas.microsoft.com/office/drawing/2014/main" id="{83FECADF-EDB5-486E-A073-7A369BB59B33}"/>
              </a:ext>
            </a:extLst>
          </p:cNvPr>
          <p:cNvSpPr txBox="1">
            <a:spLocks/>
          </p:cNvSpPr>
          <p:nvPr/>
        </p:nvSpPr>
        <p:spPr>
          <a:xfrm>
            <a:off x="519727" y="5476359"/>
            <a:ext cx="1645920"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itchFamily="2" charset="2"/>
              <a:buNone/>
              <a:tabLst/>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Kit Components</a:t>
            </a:r>
          </a:p>
        </p:txBody>
      </p:sp>
      <p:sp>
        <p:nvSpPr>
          <p:cNvPr id="135" name="Content Placeholder 47" descr="Intel® Xeon® processor&#10;Intel® Core™ i5 processor&#10;Intel® Core™ i7 processor&#10;Intel® Core™ i3 processor&#10;Intel® NUC&#10;10gbe Intel® ethernet &#10;network adapters &#10;">
            <a:extLst>
              <a:ext uri="{FF2B5EF4-FFF2-40B4-BE49-F238E27FC236}">
                <a16:creationId xmlns:a16="http://schemas.microsoft.com/office/drawing/2014/main" id="{A2EB2E19-55D9-44D7-8F5B-3BCE9BC4AFB4}"/>
              </a:ext>
            </a:extLst>
          </p:cNvPr>
          <p:cNvSpPr txBox="1">
            <a:spLocks/>
          </p:cNvSpPr>
          <p:nvPr/>
        </p:nvSpPr>
        <p:spPr>
          <a:xfrm>
            <a:off x="250527" y="5653307"/>
            <a:ext cx="3890314" cy="609584"/>
          </a:xfrm>
          <a:prstGeom prst="rect">
            <a:avLst/>
          </a:prstGeom>
          <a:ln>
            <a:noFill/>
          </a:ln>
        </p:spPr>
        <p:txBody>
          <a:bodyPr lIns="0" tIns="45720" bIns="91440" numCol="2">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728" lvl="1" indent="-109728"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594" indent="-197644"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19957"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557"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Xeon® Processors</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Core™ i5 Processors</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Core™ i7 Processors</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Core™ i3 Processors</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Intel® NUC</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10gbe Intel® ethernet </a:t>
            </a:r>
            <a:b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b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network adapters </a:t>
            </a:r>
          </a:p>
        </p:txBody>
      </p:sp>
      <p:grpSp>
        <p:nvGrpSpPr>
          <p:cNvPr id="3" name="Group 2" descr="A solution diagram showing how the solution created a centralized data center with information coming from cameras on site.">
            <a:extLst>
              <a:ext uri="{FF2B5EF4-FFF2-40B4-BE49-F238E27FC236}">
                <a16:creationId xmlns:a16="http://schemas.microsoft.com/office/drawing/2014/main" id="{5AD70BE2-13E0-45E6-8FAD-A306CCDB2024}"/>
              </a:ext>
            </a:extLst>
          </p:cNvPr>
          <p:cNvGrpSpPr/>
          <p:nvPr/>
        </p:nvGrpSpPr>
        <p:grpSpPr>
          <a:xfrm>
            <a:off x="3719484" y="2626897"/>
            <a:ext cx="5766348" cy="3677896"/>
            <a:chOff x="3719484" y="2626897"/>
            <a:chExt cx="5766348" cy="3677896"/>
          </a:xfrm>
        </p:grpSpPr>
        <p:grpSp>
          <p:nvGrpSpPr>
            <p:cNvPr id="745" name="Group 744">
              <a:extLst>
                <a:ext uri="{FF2B5EF4-FFF2-40B4-BE49-F238E27FC236}">
                  <a16:creationId xmlns:a16="http://schemas.microsoft.com/office/drawing/2014/main" id="{B8E2B27C-2D9C-4727-96B3-E7DB57E2E87A}"/>
                </a:ext>
              </a:extLst>
            </p:cNvPr>
            <p:cNvGrpSpPr/>
            <p:nvPr/>
          </p:nvGrpSpPr>
          <p:grpSpPr>
            <a:xfrm>
              <a:off x="3760422" y="2659380"/>
              <a:ext cx="5725410" cy="3597021"/>
              <a:chOff x="3756666" y="2657022"/>
              <a:chExt cx="5729166" cy="3599381"/>
            </a:xfrm>
          </p:grpSpPr>
          <p:cxnSp>
            <p:nvCxnSpPr>
              <p:cNvPr id="746" name="Straight Arrow Connector 745">
                <a:extLst>
                  <a:ext uri="{FF2B5EF4-FFF2-40B4-BE49-F238E27FC236}">
                    <a16:creationId xmlns:a16="http://schemas.microsoft.com/office/drawing/2014/main" id="{BA215F43-22A5-4813-A28B-0FB64533E2A8}"/>
                  </a:ext>
                </a:extLst>
              </p:cNvPr>
              <p:cNvCxnSpPr>
                <a:cxnSpLocks/>
              </p:cNvCxnSpPr>
              <p:nvPr/>
            </p:nvCxnSpPr>
            <p:spPr>
              <a:xfrm>
                <a:off x="5980502" y="3850101"/>
                <a:ext cx="0" cy="454100"/>
              </a:xfrm>
              <a:prstGeom prst="straightConnector1">
                <a:avLst/>
              </a:pr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cxnSp>
          <p:cxnSp>
            <p:nvCxnSpPr>
              <p:cNvPr id="747" name="Straight Arrow Connector 746">
                <a:extLst>
                  <a:ext uri="{FF2B5EF4-FFF2-40B4-BE49-F238E27FC236}">
                    <a16:creationId xmlns:a16="http://schemas.microsoft.com/office/drawing/2014/main" id="{4AA775B7-EEC4-4AC1-8117-7F74D65786C0}"/>
                  </a:ext>
                </a:extLst>
              </p:cNvPr>
              <p:cNvCxnSpPr>
                <a:cxnSpLocks/>
              </p:cNvCxnSpPr>
              <p:nvPr/>
            </p:nvCxnSpPr>
            <p:spPr>
              <a:xfrm flipV="1">
                <a:off x="6102561" y="3822976"/>
                <a:ext cx="0" cy="300566"/>
              </a:xfrm>
              <a:prstGeom prst="straightConnector1">
                <a:avLst/>
              </a:prstGeom>
              <a:noFill/>
              <a:ln w="6350" cap="flat">
                <a:solidFill>
                  <a:schemeClr val="accent6"/>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cxnSp>
          <p:sp>
            <p:nvSpPr>
              <p:cNvPr id="748" name="Freeform: Shape 747">
                <a:extLst>
                  <a:ext uri="{FF2B5EF4-FFF2-40B4-BE49-F238E27FC236}">
                    <a16:creationId xmlns:a16="http://schemas.microsoft.com/office/drawing/2014/main" id="{333ED5F0-56FE-4A53-8F33-03B7FB8E8135}"/>
                  </a:ext>
                </a:extLst>
              </p:cNvPr>
              <p:cNvSpPr/>
              <p:nvPr/>
            </p:nvSpPr>
            <p:spPr>
              <a:xfrm>
                <a:off x="5511481" y="4537256"/>
                <a:ext cx="325489" cy="714193"/>
              </a:xfrm>
              <a:custGeom>
                <a:avLst/>
                <a:gdLst>
                  <a:gd name="connsiteX0" fmla="*/ 228600 w 228600"/>
                  <a:gd name="connsiteY0" fmla="*/ 0 h 155575"/>
                  <a:gd name="connsiteX1" fmla="*/ 228600 w 228600"/>
                  <a:gd name="connsiteY1" fmla="*/ 66675 h 155575"/>
                  <a:gd name="connsiteX2" fmla="*/ 0 w 228600"/>
                  <a:gd name="connsiteY2" fmla="*/ 66675 h 155575"/>
                  <a:gd name="connsiteX3" fmla="*/ 0 w 228600"/>
                  <a:gd name="connsiteY3" fmla="*/ 155575 h 155575"/>
                </a:gdLst>
                <a:ahLst/>
                <a:cxnLst>
                  <a:cxn ang="0">
                    <a:pos x="connsiteX0" y="connsiteY0"/>
                  </a:cxn>
                  <a:cxn ang="0">
                    <a:pos x="connsiteX1" y="connsiteY1"/>
                  </a:cxn>
                  <a:cxn ang="0">
                    <a:pos x="connsiteX2" y="connsiteY2"/>
                  </a:cxn>
                  <a:cxn ang="0">
                    <a:pos x="connsiteX3" y="connsiteY3"/>
                  </a:cxn>
                </a:cxnLst>
                <a:rect l="l" t="t" r="r" b="b"/>
                <a:pathLst>
                  <a:path w="228600" h="155575">
                    <a:moveTo>
                      <a:pt x="228600" y="0"/>
                    </a:moveTo>
                    <a:lnTo>
                      <a:pt x="228600" y="66675"/>
                    </a:lnTo>
                    <a:lnTo>
                      <a:pt x="0" y="66675"/>
                    </a:lnTo>
                    <a:lnTo>
                      <a:pt x="0" y="155575"/>
                    </a:lnTo>
                  </a:path>
                </a:pathLst>
              </a:custGeom>
              <a:noFill/>
              <a:ln w="6350" cap="flat">
                <a:solidFill>
                  <a:schemeClr val="accent6"/>
                </a:solidFill>
                <a:prstDash val="dash"/>
                <a:miter lim="400000"/>
                <a:headEnd type="none" w="med" len="sm"/>
                <a:tailEnd type="triangl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0">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49" name="Graphic 2">
                <a:extLst>
                  <a:ext uri="{FF2B5EF4-FFF2-40B4-BE49-F238E27FC236}">
                    <a16:creationId xmlns:a16="http://schemas.microsoft.com/office/drawing/2014/main" id="{91568217-9BAA-4469-A193-97688C8D1C04}"/>
                  </a:ext>
                </a:extLst>
              </p:cNvPr>
              <p:cNvSpPr/>
              <p:nvPr/>
            </p:nvSpPr>
            <p:spPr>
              <a:xfrm>
                <a:off x="5806721" y="4113958"/>
                <a:ext cx="828625" cy="450554"/>
              </a:xfrm>
              <a:custGeom>
                <a:avLst/>
                <a:gdLst>
                  <a:gd name="connsiteX0" fmla="*/ 13507213 w 15174469"/>
                  <a:gd name="connsiteY0" fmla="*/ 3534154 h 8250935"/>
                  <a:gd name="connsiteX1" fmla="*/ 13447777 w 15174469"/>
                  <a:gd name="connsiteY1" fmla="*/ 3435095 h 8250935"/>
                  <a:gd name="connsiteX2" fmla="*/ 13447777 w 15174469"/>
                  <a:gd name="connsiteY2" fmla="*/ 3384803 h 8250935"/>
                  <a:gd name="connsiteX3" fmla="*/ 9398508 w 15174469"/>
                  <a:gd name="connsiteY3" fmla="*/ 0 h 8250935"/>
                  <a:gd name="connsiteX4" fmla="*/ 5887213 w 15174469"/>
                  <a:gd name="connsiteY4" fmla="*/ 1690116 h 8250935"/>
                  <a:gd name="connsiteX5" fmla="*/ 5827777 w 15174469"/>
                  <a:gd name="connsiteY5" fmla="*/ 1740408 h 8250935"/>
                  <a:gd name="connsiteX6" fmla="*/ 4817364 w 15174469"/>
                  <a:gd name="connsiteY6" fmla="*/ 1690116 h 8250935"/>
                  <a:gd name="connsiteX7" fmla="*/ 2199133 w 15174469"/>
                  <a:gd name="connsiteY7" fmla="*/ 3678936 h 8250935"/>
                  <a:gd name="connsiteX8" fmla="*/ 2081785 w 15174469"/>
                  <a:gd name="connsiteY8" fmla="*/ 4274818 h 8250935"/>
                  <a:gd name="connsiteX9" fmla="*/ 2022349 w 15174469"/>
                  <a:gd name="connsiteY9" fmla="*/ 4373880 h 8250935"/>
                  <a:gd name="connsiteX10" fmla="*/ 0 w 15174469"/>
                  <a:gd name="connsiteY10" fmla="*/ 6312408 h 8250935"/>
                  <a:gd name="connsiteX11" fmla="*/ 2319528 w 15174469"/>
                  <a:gd name="connsiteY11" fmla="*/ 8250936 h 8250935"/>
                  <a:gd name="connsiteX12" fmla="*/ 12199620 w 15174469"/>
                  <a:gd name="connsiteY12" fmla="*/ 8250936 h 8250935"/>
                  <a:gd name="connsiteX13" fmla="*/ 15174469 w 15174469"/>
                  <a:gd name="connsiteY13" fmla="*/ 5760718 h 8250935"/>
                  <a:gd name="connsiteX14" fmla="*/ 13507213 w 15174469"/>
                  <a:gd name="connsiteY14" fmla="*/ 3534154 h 8250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74469" h="8250935">
                    <a:moveTo>
                      <a:pt x="13507213" y="3534154"/>
                    </a:moveTo>
                    <a:cubicBezTo>
                      <a:pt x="13507213" y="3534154"/>
                      <a:pt x="13447777" y="3483864"/>
                      <a:pt x="13447777" y="3435095"/>
                    </a:cubicBezTo>
                    <a:cubicBezTo>
                      <a:pt x="13447777" y="3435095"/>
                      <a:pt x="13447777" y="3435095"/>
                      <a:pt x="13447777" y="3384803"/>
                    </a:cubicBezTo>
                    <a:cubicBezTo>
                      <a:pt x="13447777" y="1540764"/>
                      <a:pt x="11660125" y="0"/>
                      <a:pt x="9398508" y="0"/>
                    </a:cubicBezTo>
                    <a:cubicBezTo>
                      <a:pt x="7972044" y="0"/>
                      <a:pt x="6600444" y="646175"/>
                      <a:pt x="5887213" y="1690116"/>
                    </a:cubicBezTo>
                    <a:cubicBezTo>
                      <a:pt x="5887213" y="1740408"/>
                      <a:pt x="5827777" y="1740408"/>
                      <a:pt x="5827777" y="1740408"/>
                    </a:cubicBezTo>
                    <a:cubicBezTo>
                      <a:pt x="5471162" y="1690116"/>
                      <a:pt x="5173980" y="1690116"/>
                      <a:pt x="4817364" y="1690116"/>
                    </a:cubicBezTo>
                    <a:cubicBezTo>
                      <a:pt x="3508249" y="1839467"/>
                      <a:pt x="2438400" y="2634995"/>
                      <a:pt x="2199133" y="3678936"/>
                    </a:cubicBezTo>
                    <a:cubicBezTo>
                      <a:pt x="2139697" y="3877054"/>
                      <a:pt x="2081785" y="4076700"/>
                      <a:pt x="2081785" y="4274818"/>
                    </a:cubicBezTo>
                    <a:cubicBezTo>
                      <a:pt x="2081785" y="4325111"/>
                      <a:pt x="2081785" y="4325111"/>
                      <a:pt x="2022349" y="4373880"/>
                    </a:cubicBezTo>
                    <a:cubicBezTo>
                      <a:pt x="893064" y="4472939"/>
                      <a:pt x="0" y="5318759"/>
                      <a:pt x="0" y="6312408"/>
                    </a:cubicBezTo>
                    <a:cubicBezTo>
                      <a:pt x="0" y="7356347"/>
                      <a:pt x="1069849" y="8250936"/>
                      <a:pt x="2319528" y="8250936"/>
                    </a:cubicBezTo>
                    <a:cubicBezTo>
                      <a:pt x="12199620" y="8250936"/>
                      <a:pt x="12199620" y="8250936"/>
                      <a:pt x="12199620" y="8250936"/>
                    </a:cubicBezTo>
                    <a:cubicBezTo>
                      <a:pt x="13865354" y="8250936"/>
                      <a:pt x="15174469" y="7107936"/>
                      <a:pt x="15174469" y="5760718"/>
                    </a:cubicBezTo>
                    <a:cubicBezTo>
                      <a:pt x="15172944" y="4777739"/>
                      <a:pt x="14519149" y="3931918"/>
                      <a:pt x="13507213" y="3534154"/>
                    </a:cubicBezTo>
                  </a:path>
                </a:pathLst>
              </a:custGeom>
              <a:solidFill>
                <a:schemeClr val="bg1"/>
              </a:solidFill>
              <a:ln w="6350" cap="flat">
                <a:solidFill>
                  <a:schemeClr val="accent4"/>
                </a:solidFill>
                <a:prstDash val="solid"/>
                <a:miter/>
              </a:ln>
            </p:spPr>
            <p:txBody>
              <a:bodyPr lIns="0" tIns="82296"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Cloud</a:t>
                </a:r>
              </a:p>
            </p:txBody>
          </p:sp>
          <p:grpSp>
            <p:nvGrpSpPr>
              <p:cNvPr id="750" name="Group 749">
                <a:extLst>
                  <a:ext uri="{FF2B5EF4-FFF2-40B4-BE49-F238E27FC236}">
                    <a16:creationId xmlns:a16="http://schemas.microsoft.com/office/drawing/2014/main" id="{C5C52CD9-077B-404F-8FD1-A641E7E0BA2C}"/>
                  </a:ext>
                </a:extLst>
              </p:cNvPr>
              <p:cNvGrpSpPr/>
              <p:nvPr/>
            </p:nvGrpSpPr>
            <p:grpSpPr>
              <a:xfrm>
                <a:off x="3756666" y="2822133"/>
                <a:ext cx="319102" cy="374241"/>
                <a:chOff x="3756666" y="2822133"/>
                <a:chExt cx="319102" cy="374241"/>
              </a:xfrm>
            </p:grpSpPr>
            <p:sp>
              <p:nvSpPr>
                <p:cNvPr id="2106" name="Graphic 2">
                  <a:extLst>
                    <a:ext uri="{FF2B5EF4-FFF2-40B4-BE49-F238E27FC236}">
                      <a16:creationId xmlns:a16="http://schemas.microsoft.com/office/drawing/2014/main" id="{413032CF-70ED-4488-B0E2-ED489E70C972}"/>
                    </a:ext>
                  </a:extLst>
                </p:cNvPr>
                <p:cNvSpPr/>
                <p:nvPr/>
              </p:nvSpPr>
              <p:spPr>
                <a:xfrm>
                  <a:off x="3931448" y="2890227"/>
                  <a:ext cx="144320" cy="306147"/>
                </a:xfrm>
                <a:custGeom>
                  <a:avLst/>
                  <a:gdLst>
                    <a:gd name="connsiteX0" fmla="*/ 25908 w 3191255"/>
                    <a:gd name="connsiteY0" fmla="*/ 569975 h 6769607"/>
                    <a:gd name="connsiteX1" fmla="*/ 3191256 w 3191255"/>
                    <a:gd name="connsiteY1" fmla="*/ 0 h 6769607"/>
                    <a:gd name="connsiteX2" fmla="*/ 3191256 w 3191255"/>
                    <a:gd name="connsiteY2" fmla="*/ 5731764 h 6769607"/>
                    <a:gd name="connsiteX3" fmla="*/ 0 w 3191255"/>
                    <a:gd name="connsiteY3" fmla="*/ 6769608 h 6769607"/>
                  </a:gdLst>
                  <a:ahLst/>
                  <a:cxnLst>
                    <a:cxn ang="0">
                      <a:pos x="connsiteX0" y="connsiteY0"/>
                    </a:cxn>
                    <a:cxn ang="0">
                      <a:pos x="connsiteX1" y="connsiteY1"/>
                    </a:cxn>
                    <a:cxn ang="0">
                      <a:pos x="connsiteX2" y="connsiteY2"/>
                    </a:cxn>
                    <a:cxn ang="0">
                      <a:pos x="connsiteX3" y="connsiteY3"/>
                    </a:cxn>
                  </a:cxnLst>
                  <a:rect l="l" t="t" r="r" b="b"/>
                  <a:pathLst>
                    <a:path w="3191255" h="6769607">
                      <a:moveTo>
                        <a:pt x="25908" y="569975"/>
                      </a:moveTo>
                      <a:lnTo>
                        <a:pt x="3191256" y="0"/>
                      </a:lnTo>
                      <a:lnTo>
                        <a:pt x="3191256" y="5731764"/>
                      </a:lnTo>
                      <a:lnTo>
                        <a:pt x="0" y="6769608"/>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7" name="Graphic 2">
                  <a:extLst>
                    <a:ext uri="{FF2B5EF4-FFF2-40B4-BE49-F238E27FC236}">
                      <a16:creationId xmlns:a16="http://schemas.microsoft.com/office/drawing/2014/main" id="{F355A6EB-0003-4E58-9770-CAB0FE697B85}"/>
                    </a:ext>
                  </a:extLst>
                </p:cNvPr>
                <p:cNvSpPr/>
                <p:nvPr/>
              </p:nvSpPr>
              <p:spPr>
                <a:xfrm>
                  <a:off x="3756666" y="2822133"/>
                  <a:ext cx="319102" cy="93870"/>
                </a:xfrm>
                <a:custGeom>
                  <a:avLst/>
                  <a:gdLst>
                    <a:gd name="connsiteX0" fmla="*/ 0 w 7056119"/>
                    <a:gd name="connsiteY0" fmla="*/ 597408 h 2075687"/>
                    <a:gd name="connsiteX1" fmla="*/ 3890772 w 7056119"/>
                    <a:gd name="connsiteY1" fmla="*/ 2075687 h 2075687"/>
                    <a:gd name="connsiteX2" fmla="*/ 7056120 w 7056119"/>
                    <a:gd name="connsiteY2" fmla="*/ 1505713 h 2075687"/>
                    <a:gd name="connsiteX3" fmla="*/ 3087624 w 7056119"/>
                    <a:gd name="connsiteY3" fmla="*/ 0 h 2075687"/>
                  </a:gdLst>
                  <a:ahLst/>
                  <a:cxnLst>
                    <a:cxn ang="0">
                      <a:pos x="connsiteX0" y="connsiteY0"/>
                    </a:cxn>
                    <a:cxn ang="0">
                      <a:pos x="connsiteX1" y="connsiteY1"/>
                    </a:cxn>
                    <a:cxn ang="0">
                      <a:pos x="connsiteX2" y="connsiteY2"/>
                    </a:cxn>
                    <a:cxn ang="0">
                      <a:pos x="connsiteX3" y="connsiteY3"/>
                    </a:cxn>
                  </a:cxnLst>
                  <a:rect l="l" t="t" r="r" b="b"/>
                  <a:pathLst>
                    <a:path w="7056119" h="2075687">
                      <a:moveTo>
                        <a:pt x="0" y="597408"/>
                      </a:moveTo>
                      <a:lnTo>
                        <a:pt x="3890772" y="2075687"/>
                      </a:lnTo>
                      <a:lnTo>
                        <a:pt x="7056120" y="1505713"/>
                      </a:lnTo>
                      <a:lnTo>
                        <a:pt x="3087624"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8" name="Graphic 2">
                  <a:extLst>
                    <a:ext uri="{FF2B5EF4-FFF2-40B4-BE49-F238E27FC236}">
                      <a16:creationId xmlns:a16="http://schemas.microsoft.com/office/drawing/2014/main" id="{66B7C158-BEFC-4C92-BCBC-75199A5B682F}"/>
                    </a:ext>
                  </a:extLst>
                </p:cNvPr>
                <p:cNvSpPr/>
                <p:nvPr/>
              </p:nvSpPr>
              <p:spPr>
                <a:xfrm>
                  <a:off x="3756666" y="2849150"/>
                  <a:ext cx="175954" cy="347224"/>
                </a:xfrm>
                <a:custGeom>
                  <a:avLst/>
                  <a:gdLst>
                    <a:gd name="connsiteX0" fmla="*/ 51816 w 3890772"/>
                    <a:gd name="connsiteY0" fmla="*/ 6044185 h 7677912"/>
                    <a:gd name="connsiteX1" fmla="*/ 3864864 w 3890772"/>
                    <a:gd name="connsiteY1" fmla="*/ 7677913 h 7677912"/>
                    <a:gd name="connsiteX2" fmla="*/ 3890772 w 3890772"/>
                    <a:gd name="connsiteY2" fmla="*/ 1478280 h 7677912"/>
                    <a:gd name="connsiteX3" fmla="*/ 0 w 3890772"/>
                    <a:gd name="connsiteY3" fmla="*/ 0 h 7677912"/>
                  </a:gdLst>
                  <a:ahLst/>
                  <a:cxnLst>
                    <a:cxn ang="0">
                      <a:pos x="connsiteX0" y="connsiteY0"/>
                    </a:cxn>
                    <a:cxn ang="0">
                      <a:pos x="connsiteX1" y="connsiteY1"/>
                    </a:cxn>
                    <a:cxn ang="0">
                      <a:pos x="connsiteX2" y="connsiteY2"/>
                    </a:cxn>
                    <a:cxn ang="0">
                      <a:pos x="connsiteX3" y="connsiteY3"/>
                    </a:cxn>
                  </a:cxnLst>
                  <a:rect l="l" t="t" r="r" b="b"/>
                  <a:pathLst>
                    <a:path w="3890772" h="7677912">
                      <a:moveTo>
                        <a:pt x="51816" y="6044185"/>
                      </a:moveTo>
                      <a:lnTo>
                        <a:pt x="3864864" y="7677913"/>
                      </a:lnTo>
                      <a:lnTo>
                        <a:pt x="3890772" y="147828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9" name="Graphic 2">
                  <a:extLst>
                    <a:ext uri="{FF2B5EF4-FFF2-40B4-BE49-F238E27FC236}">
                      <a16:creationId xmlns:a16="http://schemas.microsoft.com/office/drawing/2014/main" id="{D9F76F71-E168-48A9-85AA-296C78203151}"/>
                    </a:ext>
                  </a:extLst>
                </p:cNvPr>
                <p:cNvSpPr/>
                <p:nvPr/>
              </p:nvSpPr>
              <p:spPr>
                <a:xfrm>
                  <a:off x="3952331" y="2928616"/>
                  <a:ext cx="41559" cy="33702"/>
                </a:xfrm>
                <a:custGeom>
                  <a:avLst/>
                  <a:gdLst>
                    <a:gd name="connsiteX0" fmla="*/ 1524 w 918971"/>
                    <a:gd name="connsiteY0" fmla="*/ 164592 h 745235"/>
                    <a:gd name="connsiteX1" fmla="*/ 918972 w 918971"/>
                    <a:gd name="connsiteY1" fmla="*/ 0 h 745235"/>
                    <a:gd name="connsiteX2" fmla="*/ 908304 w 918971"/>
                    <a:gd name="connsiteY2" fmla="*/ 560833 h 745235"/>
                    <a:gd name="connsiteX3" fmla="*/ 0 w 918971"/>
                    <a:gd name="connsiteY3" fmla="*/ 745236 h 745235"/>
                  </a:gdLst>
                  <a:ahLst/>
                  <a:cxnLst>
                    <a:cxn ang="0">
                      <a:pos x="connsiteX0" y="connsiteY0"/>
                    </a:cxn>
                    <a:cxn ang="0">
                      <a:pos x="connsiteX1" y="connsiteY1"/>
                    </a:cxn>
                    <a:cxn ang="0">
                      <a:pos x="connsiteX2" y="connsiteY2"/>
                    </a:cxn>
                    <a:cxn ang="0">
                      <a:pos x="connsiteX3" y="connsiteY3"/>
                    </a:cxn>
                  </a:cxnLst>
                  <a:rect l="l" t="t" r="r" b="b"/>
                  <a:pathLst>
                    <a:path w="918971" h="745235">
                      <a:moveTo>
                        <a:pt x="1524" y="164592"/>
                      </a:moveTo>
                      <a:lnTo>
                        <a:pt x="918972" y="0"/>
                      </a:lnTo>
                      <a:lnTo>
                        <a:pt x="908304" y="560833"/>
                      </a:lnTo>
                      <a:lnTo>
                        <a:pt x="0" y="745236"/>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10" name="Graphic 2">
                  <a:extLst>
                    <a:ext uri="{FF2B5EF4-FFF2-40B4-BE49-F238E27FC236}">
                      <a16:creationId xmlns:a16="http://schemas.microsoft.com/office/drawing/2014/main" id="{585D8CBB-02A1-4971-B9A8-9E06CCB0C594}"/>
                    </a:ext>
                  </a:extLst>
                </p:cNvPr>
                <p:cNvSpPr/>
                <p:nvPr/>
              </p:nvSpPr>
              <p:spPr>
                <a:xfrm>
                  <a:off x="3932207" y="2976240"/>
                  <a:ext cx="143561" cy="34116"/>
                </a:xfrm>
                <a:custGeom>
                  <a:avLst/>
                  <a:gdLst>
                    <a:gd name="connsiteX0" fmla="*/ 3174492 w 3174491"/>
                    <a:gd name="connsiteY0" fmla="*/ 0 h 754379"/>
                    <a:gd name="connsiteX1" fmla="*/ 0 w 3174491"/>
                    <a:gd name="connsiteY1" fmla="*/ 626364 h 754379"/>
                    <a:gd name="connsiteX2" fmla="*/ 0 w 3174491"/>
                    <a:gd name="connsiteY2" fmla="*/ 754380 h 754379"/>
                    <a:gd name="connsiteX3" fmla="*/ 3174492 w 3174491"/>
                    <a:gd name="connsiteY3" fmla="*/ 123444 h 754379"/>
                  </a:gdLst>
                  <a:ahLst/>
                  <a:cxnLst>
                    <a:cxn ang="0">
                      <a:pos x="connsiteX0" y="connsiteY0"/>
                    </a:cxn>
                    <a:cxn ang="0">
                      <a:pos x="connsiteX1" y="connsiteY1"/>
                    </a:cxn>
                    <a:cxn ang="0">
                      <a:pos x="connsiteX2" y="connsiteY2"/>
                    </a:cxn>
                    <a:cxn ang="0">
                      <a:pos x="connsiteX3" y="connsiteY3"/>
                    </a:cxn>
                  </a:cxnLst>
                  <a:rect l="l" t="t" r="r" b="b"/>
                  <a:pathLst>
                    <a:path w="3174491" h="754379">
                      <a:moveTo>
                        <a:pt x="3174492" y="0"/>
                      </a:moveTo>
                      <a:lnTo>
                        <a:pt x="0" y="626364"/>
                      </a:lnTo>
                      <a:lnTo>
                        <a:pt x="0" y="754380"/>
                      </a:lnTo>
                      <a:lnTo>
                        <a:pt x="3174492" y="123444"/>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11" name="Graphic 2">
                  <a:extLst>
                    <a:ext uri="{FF2B5EF4-FFF2-40B4-BE49-F238E27FC236}">
                      <a16:creationId xmlns:a16="http://schemas.microsoft.com/office/drawing/2014/main" id="{F5F62184-50EC-43FF-9553-3D586C78A8A9}"/>
                    </a:ext>
                  </a:extLst>
                </p:cNvPr>
                <p:cNvSpPr/>
                <p:nvPr/>
              </p:nvSpPr>
              <p:spPr>
                <a:xfrm>
                  <a:off x="3931655" y="3101814"/>
                  <a:ext cx="144113" cy="46177"/>
                </a:xfrm>
                <a:custGeom>
                  <a:avLst/>
                  <a:gdLst>
                    <a:gd name="connsiteX0" fmla="*/ 3186684 w 3186683"/>
                    <a:gd name="connsiteY0" fmla="*/ 0 h 1021079"/>
                    <a:gd name="connsiteX1" fmla="*/ 0 w 3186683"/>
                    <a:gd name="connsiteY1" fmla="*/ 893064 h 1021079"/>
                    <a:gd name="connsiteX2" fmla="*/ 0 w 3186683"/>
                    <a:gd name="connsiteY2" fmla="*/ 1021080 h 1021079"/>
                    <a:gd name="connsiteX3" fmla="*/ 3186684 w 3186683"/>
                    <a:gd name="connsiteY3" fmla="*/ 114300 h 1021079"/>
                  </a:gdLst>
                  <a:ahLst/>
                  <a:cxnLst>
                    <a:cxn ang="0">
                      <a:pos x="connsiteX0" y="connsiteY0"/>
                    </a:cxn>
                    <a:cxn ang="0">
                      <a:pos x="connsiteX1" y="connsiteY1"/>
                    </a:cxn>
                    <a:cxn ang="0">
                      <a:pos x="connsiteX2" y="connsiteY2"/>
                    </a:cxn>
                    <a:cxn ang="0">
                      <a:pos x="connsiteX3" y="connsiteY3"/>
                    </a:cxn>
                  </a:cxnLst>
                  <a:rect l="l" t="t" r="r" b="b"/>
                  <a:pathLst>
                    <a:path w="3186683" h="1021079">
                      <a:moveTo>
                        <a:pt x="3186684" y="0"/>
                      </a:moveTo>
                      <a:lnTo>
                        <a:pt x="0" y="893064"/>
                      </a:lnTo>
                      <a:lnTo>
                        <a:pt x="0" y="1021080"/>
                      </a:lnTo>
                      <a:lnTo>
                        <a:pt x="3186684" y="11430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51" name="Group 750">
                <a:extLst>
                  <a:ext uri="{FF2B5EF4-FFF2-40B4-BE49-F238E27FC236}">
                    <a16:creationId xmlns:a16="http://schemas.microsoft.com/office/drawing/2014/main" id="{B4351A62-BF64-4AC5-B255-5220B91679FE}"/>
                  </a:ext>
                </a:extLst>
              </p:cNvPr>
              <p:cNvGrpSpPr/>
              <p:nvPr/>
            </p:nvGrpSpPr>
            <p:grpSpPr>
              <a:xfrm>
                <a:off x="4869871" y="3976594"/>
                <a:ext cx="384670" cy="402778"/>
                <a:chOff x="4869871" y="3976594"/>
                <a:chExt cx="384670" cy="402778"/>
              </a:xfrm>
            </p:grpSpPr>
            <p:sp>
              <p:nvSpPr>
                <p:cNvPr id="2104" name="Graphic 2">
                  <a:extLst>
                    <a:ext uri="{FF2B5EF4-FFF2-40B4-BE49-F238E27FC236}">
                      <a16:creationId xmlns:a16="http://schemas.microsoft.com/office/drawing/2014/main" id="{FD55A078-613A-4E38-B148-64301D2A0AB6}"/>
                    </a:ext>
                  </a:extLst>
                </p:cNvPr>
                <p:cNvSpPr/>
                <p:nvPr/>
              </p:nvSpPr>
              <p:spPr>
                <a:xfrm>
                  <a:off x="4869871" y="4030765"/>
                  <a:ext cx="384588" cy="348607"/>
                </a:xfrm>
                <a:custGeom>
                  <a:avLst/>
                  <a:gdLst>
                    <a:gd name="connsiteX0" fmla="*/ 0 w 7184137"/>
                    <a:gd name="connsiteY0" fmla="*/ 0 h 6512051"/>
                    <a:gd name="connsiteX1" fmla="*/ 0 w 7184137"/>
                    <a:gd name="connsiteY1" fmla="*/ 5500116 h 6512051"/>
                    <a:gd name="connsiteX2" fmla="*/ 3592068 w 7184137"/>
                    <a:gd name="connsiteY2" fmla="*/ 6512052 h 6512051"/>
                    <a:gd name="connsiteX3" fmla="*/ 7184137 w 7184137"/>
                    <a:gd name="connsiteY3" fmla="*/ 5500116 h 6512051"/>
                    <a:gd name="connsiteX4" fmla="*/ 7184137 w 7184137"/>
                    <a:gd name="connsiteY4" fmla="*/ 0 h 6512051"/>
                    <a:gd name="connsiteX5" fmla="*/ 0 w 7184137"/>
                    <a:gd name="connsiteY5" fmla="*/ 0 h 6512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84137" h="6512051">
                      <a:moveTo>
                        <a:pt x="0" y="0"/>
                      </a:moveTo>
                      <a:lnTo>
                        <a:pt x="0" y="5500116"/>
                      </a:lnTo>
                      <a:cubicBezTo>
                        <a:pt x="0" y="6059423"/>
                        <a:pt x="1607821" y="6512052"/>
                        <a:pt x="3592068" y="6512052"/>
                      </a:cubicBezTo>
                      <a:cubicBezTo>
                        <a:pt x="5576317" y="6512052"/>
                        <a:pt x="7184137" y="6059423"/>
                        <a:pt x="7184137" y="5500116"/>
                      </a:cubicBezTo>
                      <a:lnTo>
                        <a:pt x="7184137"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5" name="Graphic 2">
                  <a:extLst>
                    <a:ext uri="{FF2B5EF4-FFF2-40B4-BE49-F238E27FC236}">
                      <a16:creationId xmlns:a16="http://schemas.microsoft.com/office/drawing/2014/main" id="{9A152FAB-CBD3-458C-AE6F-668E832A6665}"/>
                    </a:ext>
                  </a:extLst>
                </p:cNvPr>
                <p:cNvSpPr/>
                <p:nvPr/>
              </p:nvSpPr>
              <p:spPr>
                <a:xfrm>
                  <a:off x="4869953" y="3976594"/>
                  <a:ext cx="384588" cy="108343"/>
                </a:xfrm>
                <a:custGeom>
                  <a:avLst/>
                  <a:gdLst>
                    <a:gd name="connsiteX0" fmla="*/ 7184136 w 7184135"/>
                    <a:gd name="connsiteY0" fmla="*/ 1011936 h 2023871"/>
                    <a:gd name="connsiteX1" fmla="*/ 3592068 w 7184135"/>
                    <a:gd name="connsiteY1" fmla="*/ 2023872 h 2023871"/>
                    <a:gd name="connsiteX2" fmla="*/ 0 w 7184135"/>
                    <a:gd name="connsiteY2" fmla="*/ 1011936 h 2023871"/>
                    <a:gd name="connsiteX3" fmla="*/ 3592068 w 7184135"/>
                    <a:gd name="connsiteY3" fmla="*/ 0 h 2023871"/>
                    <a:gd name="connsiteX4" fmla="*/ 7184136 w 7184135"/>
                    <a:gd name="connsiteY4" fmla="*/ 1011936 h 2023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4135" h="2023871">
                      <a:moveTo>
                        <a:pt x="7184136" y="1011936"/>
                      </a:moveTo>
                      <a:cubicBezTo>
                        <a:pt x="7184136" y="1570814"/>
                        <a:pt x="5575913" y="2023872"/>
                        <a:pt x="3592068" y="2023872"/>
                      </a:cubicBezTo>
                      <a:cubicBezTo>
                        <a:pt x="1608224" y="2023872"/>
                        <a:pt x="0" y="1570814"/>
                        <a:pt x="0" y="1011936"/>
                      </a:cubicBezTo>
                      <a:cubicBezTo>
                        <a:pt x="0" y="453059"/>
                        <a:pt x="1608224" y="0"/>
                        <a:pt x="3592068" y="0"/>
                      </a:cubicBezTo>
                      <a:cubicBezTo>
                        <a:pt x="5575913" y="0"/>
                        <a:pt x="7184136" y="453059"/>
                        <a:pt x="7184136" y="1011936"/>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52" name="Group 751">
                <a:extLst>
                  <a:ext uri="{FF2B5EF4-FFF2-40B4-BE49-F238E27FC236}">
                    <a16:creationId xmlns:a16="http://schemas.microsoft.com/office/drawing/2014/main" id="{92A1059E-CB8A-421D-92B2-C7F25DA9679B}"/>
                  </a:ext>
                </a:extLst>
              </p:cNvPr>
              <p:cNvGrpSpPr/>
              <p:nvPr/>
            </p:nvGrpSpPr>
            <p:grpSpPr>
              <a:xfrm>
                <a:off x="5670221" y="3261990"/>
                <a:ext cx="638897" cy="586348"/>
                <a:chOff x="5670221" y="3261990"/>
                <a:chExt cx="638897" cy="586348"/>
              </a:xfrm>
            </p:grpSpPr>
            <p:sp>
              <p:nvSpPr>
                <p:cNvPr id="2089" name="Graphic 2">
                  <a:extLst>
                    <a:ext uri="{FF2B5EF4-FFF2-40B4-BE49-F238E27FC236}">
                      <a16:creationId xmlns:a16="http://schemas.microsoft.com/office/drawing/2014/main" id="{53F392DB-D16C-41ED-B737-98811AF9D8D9}"/>
                    </a:ext>
                  </a:extLst>
                </p:cNvPr>
                <p:cNvSpPr/>
                <p:nvPr/>
              </p:nvSpPr>
              <p:spPr>
                <a:xfrm>
                  <a:off x="6162643" y="3404999"/>
                  <a:ext cx="146475" cy="61986"/>
                </a:xfrm>
                <a:custGeom>
                  <a:avLst/>
                  <a:gdLst>
                    <a:gd name="connsiteX0" fmla="*/ 2528316 w 3799330"/>
                    <a:gd name="connsiteY0" fmla="*/ 1607820 h 1607819"/>
                    <a:gd name="connsiteX1" fmla="*/ 3799331 w 3799330"/>
                    <a:gd name="connsiteY1" fmla="*/ 1348740 h 1607819"/>
                    <a:gd name="connsiteX2" fmla="*/ 0 w 3799330"/>
                    <a:gd name="connsiteY2" fmla="*/ 0 h 1607819"/>
                    <a:gd name="connsiteX3" fmla="*/ 6095 w 3799330"/>
                    <a:gd name="connsiteY3" fmla="*/ 1018032 h 1607819"/>
                  </a:gdLst>
                  <a:ahLst/>
                  <a:cxnLst>
                    <a:cxn ang="0">
                      <a:pos x="connsiteX0" y="connsiteY0"/>
                    </a:cxn>
                    <a:cxn ang="0">
                      <a:pos x="connsiteX1" y="connsiteY1"/>
                    </a:cxn>
                    <a:cxn ang="0">
                      <a:pos x="connsiteX2" y="connsiteY2"/>
                    </a:cxn>
                    <a:cxn ang="0">
                      <a:pos x="connsiteX3" y="connsiteY3"/>
                    </a:cxn>
                  </a:cxnLst>
                  <a:rect l="l" t="t" r="r" b="b"/>
                  <a:pathLst>
                    <a:path w="3799330" h="1607819">
                      <a:moveTo>
                        <a:pt x="2528316" y="1607820"/>
                      </a:moveTo>
                      <a:lnTo>
                        <a:pt x="3799331" y="1348740"/>
                      </a:lnTo>
                      <a:lnTo>
                        <a:pt x="0" y="0"/>
                      </a:lnTo>
                      <a:lnTo>
                        <a:pt x="6095" y="101803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0" name="Graphic 2">
                  <a:extLst>
                    <a:ext uri="{FF2B5EF4-FFF2-40B4-BE49-F238E27FC236}">
                      <a16:creationId xmlns:a16="http://schemas.microsoft.com/office/drawing/2014/main" id="{E60CA04C-3331-4E3D-AA3F-AE41EEA9BB04}"/>
                    </a:ext>
                  </a:extLst>
                </p:cNvPr>
                <p:cNvSpPr/>
                <p:nvPr/>
              </p:nvSpPr>
              <p:spPr>
                <a:xfrm>
                  <a:off x="6161879" y="3432378"/>
                  <a:ext cx="98238" cy="59636"/>
                </a:xfrm>
                <a:custGeom>
                  <a:avLst/>
                  <a:gdLst>
                    <a:gd name="connsiteX0" fmla="*/ 1306067 w 2548128"/>
                    <a:gd name="connsiteY0" fmla="*/ 1136904 h 1546860"/>
                    <a:gd name="connsiteX1" fmla="*/ 2548128 w 2548128"/>
                    <a:gd name="connsiteY1" fmla="*/ 897636 h 1546860"/>
                    <a:gd name="connsiteX2" fmla="*/ 0 w 2548128"/>
                    <a:gd name="connsiteY2" fmla="*/ 0 h 1546860"/>
                    <a:gd name="connsiteX3" fmla="*/ 0 w 2548128"/>
                    <a:gd name="connsiteY3" fmla="*/ 1546860 h 1546860"/>
                  </a:gdLst>
                  <a:ahLst/>
                  <a:cxnLst>
                    <a:cxn ang="0">
                      <a:pos x="connsiteX0" y="connsiteY0"/>
                    </a:cxn>
                    <a:cxn ang="0">
                      <a:pos x="connsiteX1" y="connsiteY1"/>
                    </a:cxn>
                    <a:cxn ang="0">
                      <a:pos x="connsiteX2" y="connsiteY2"/>
                    </a:cxn>
                    <a:cxn ang="0">
                      <a:pos x="connsiteX3" y="connsiteY3"/>
                    </a:cxn>
                  </a:cxnLst>
                  <a:rect l="l" t="t" r="r" b="b"/>
                  <a:pathLst>
                    <a:path w="2548128" h="1546860">
                      <a:moveTo>
                        <a:pt x="1306067" y="1136904"/>
                      </a:moveTo>
                      <a:lnTo>
                        <a:pt x="2548128" y="897636"/>
                      </a:lnTo>
                      <a:lnTo>
                        <a:pt x="0" y="0"/>
                      </a:lnTo>
                      <a:lnTo>
                        <a:pt x="0" y="154686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1" name="Graphic 2">
                  <a:extLst>
                    <a:ext uri="{FF2B5EF4-FFF2-40B4-BE49-F238E27FC236}">
                      <a16:creationId xmlns:a16="http://schemas.microsoft.com/office/drawing/2014/main" id="{BA3D1198-E92E-4D76-B161-98A31A26B4F7}"/>
                    </a:ext>
                  </a:extLst>
                </p:cNvPr>
                <p:cNvSpPr/>
                <p:nvPr/>
              </p:nvSpPr>
              <p:spPr>
                <a:xfrm>
                  <a:off x="6260117" y="3456996"/>
                  <a:ext cx="49001" cy="328027"/>
                </a:xfrm>
                <a:custGeom>
                  <a:avLst/>
                  <a:gdLst>
                    <a:gd name="connsiteX0" fmla="*/ 0 w 1271015"/>
                    <a:gd name="connsiteY0" fmla="*/ 259080 h 8508491"/>
                    <a:gd name="connsiteX1" fmla="*/ 1271016 w 1271015"/>
                    <a:gd name="connsiteY1" fmla="*/ 0 h 8508491"/>
                    <a:gd name="connsiteX2" fmla="*/ 1271016 w 1271015"/>
                    <a:gd name="connsiteY2" fmla="*/ 8275320 h 8508491"/>
                    <a:gd name="connsiteX3" fmla="*/ 0 w 1271015"/>
                    <a:gd name="connsiteY3" fmla="*/ 8508492 h 8508491"/>
                  </a:gdLst>
                  <a:ahLst/>
                  <a:cxnLst>
                    <a:cxn ang="0">
                      <a:pos x="connsiteX0" y="connsiteY0"/>
                    </a:cxn>
                    <a:cxn ang="0">
                      <a:pos x="connsiteX1" y="connsiteY1"/>
                    </a:cxn>
                    <a:cxn ang="0">
                      <a:pos x="connsiteX2" y="connsiteY2"/>
                    </a:cxn>
                    <a:cxn ang="0">
                      <a:pos x="connsiteX3" y="connsiteY3"/>
                    </a:cxn>
                  </a:cxnLst>
                  <a:rect l="l" t="t" r="r" b="b"/>
                  <a:pathLst>
                    <a:path w="1271015" h="8508491">
                      <a:moveTo>
                        <a:pt x="0" y="259080"/>
                      </a:moveTo>
                      <a:lnTo>
                        <a:pt x="1271016" y="0"/>
                      </a:lnTo>
                      <a:lnTo>
                        <a:pt x="1271016" y="8275320"/>
                      </a:lnTo>
                      <a:lnTo>
                        <a:pt x="0" y="8508492"/>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2" name="Graphic 2">
                  <a:extLst>
                    <a:ext uri="{FF2B5EF4-FFF2-40B4-BE49-F238E27FC236}">
                      <a16:creationId xmlns:a16="http://schemas.microsoft.com/office/drawing/2014/main" id="{12CAC254-7B63-4E45-908E-8121650D8B0B}"/>
                    </a:ext>
                  </a:extLst>
                </p:cNvPr>
                <p:cNvSpPr/>
                <p:nvPr/>
              </p:nvSpPr>
              <p:spPr>
                <a:xfrm>
                  <a:off x="6166873" y="3476209"/>
                  <a:ext cx="45358" cy="326558"/>
                </a:xfrm>
                <a:custGeom>
                  <a:avLst/>
                  <a:gdLst>
                    <a:gd name="connsiteX0" fmla="*/ 1523 w 1176525"/>
                    <a:gd name="connsiteY0" fmla="*/ 225552 h 8470392"/>
                    <a:gd name="connsiteX1" fmla="*/ 0 w 1176525"/>
                    <a:gd name="connsiteY1" fmla="*/ 5902453 h 8470392"/>
                    <a:gd name="connsiteX2" fmla="*/ 0 w 1176525"/>
                    <a:gd name="connsiteY2" fmla="*/ 5902453 h 8470392"/>
                    <a:gd name="connsiteX3" fmla="*/ 0 w 1176525"/>
                    <a:gd name="connsiteY3" fmla="*/ 8470392 h 8470392"/>
                    <a:gd name="connsiteX4" fmla="*/ 1176526 w 1176525"/>
                    <a:gd name="connsiteY4" fmla="*/ 8247889 h 8470392"/>
                    <a:gd name="connsiteX5" fmla="*/ 1176526 w 1176525"/>
                    <a:gd name="connsiteY5" fmla="*/ 5679949 h 8470392"/>
                    <a:gd name="connsiteX6" fmla="*/ 1176526 w 1176525"/>
                    <a:gd name="connsiteY6" fmla="*/ 2567940 h 8470392"/>
                    <a:gd name="connsiteX7" fmla="*/ 1176526 w 1176525"/>
                    <a:gd name="connsiteY7" fmla="*/ 0 h 847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6525" h="8470392">
                      <a:moveTo>
                        <a:pt x="1523" y="225552"/>
                      </a:moveTo>
                      <a:lnTo>
                        <a:pt x="0" y="5902453"/>
                      </a:lnTo>
                      <a:lnTo>
                        <a:pt x="0" y="5902453"/>
                      </a:lnTo>
                      <a:lnTo>
                        <a:pt x="0" y="8470392"/>
                      </a:lnTo>
                      <a:lnTo>
                        <a:pt x="1176526" y="8247889"/>
                      </a:lnTo>
                      <a:lnTo>
                        <a:pt x="1176526" y="5679949"/>
                      </a:lnTo>
                      <a:lnTo>
                        <a:pt x="1176526" y="2567940"/>
                      </a:lnTo>
                      <a:lnTo>
                        <a:pt x="1176526"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3" name="Graphic 2">
                  <a:extLst>
                    <a:ext uri="{FF2B5EF4-FFF2-40B4-BE49-F238E27FC236}">
                      <a16:creationId xmlns:a16="http://schemas.microsoft.com/office/drawing/2014/main" id="{E9162057-2D4F-4B84-AE3A-5F04F765B628}"/>
                    </a:ext>
                  </a:extLst>
                </p:cNvPr>
                <p:cNvSpPr/>
                <p:nvPr/>
              </p:nvSpPr>
              <p:spPr>
                <a:xfrm>
                  <a:off x="6029564" y="3425739"/>
                  <a:ext cx="182668" cy="59166"/>
                </a:xfrm>
                <a:custGeom>
                  <a:avLst/>
                  <a:gdLst>
                    <a:gd name="connsiteX0" fmla="*/ 0 w 4738115"/>
                    <a:gd name="connsiteY0" fmla="*/ 181356 h 1534667"/>
                    <a:gd name="connsiteX1" fmla="*/ 1045464 w 4738115"/>
                    <a:gd name="connsiteY1" fmla="*/ 0 h 1534667"/>
                    <a:gd name="connsiteX2" fmla="*/ 4738116 w 4738115"/>
                    <a:gd name="connsiteY2" fmla="*/ 1309116 h 1534667"/>
                    <a:gd name="connsiteX3" fmla="*/ 3563113 w 4738115"/>
                    <a:gd name="connsiteY3" fmla="*/ 1534668 h 1534667"/>
                  </a:gdLst>
                  <a:ahLst/>
                  <a:cxnLst>
                    <a:cxn ang="0">
                      <a:pos x="connsiteX0" y="connsiteY0"/>
                    </a:cxn>
                    <a:cxn ang="0">
                      <a:pos x="connsiteX1" y="connsiteY1"/>
                    </a:cxn>
                    <a:cxn ang="0">
                      <a:pos x="connsiteX2" y="connsiteY2"/>
                    </a:cxn>
                    <a:cxn ang="0">
                      <a:pos x="connsiteX3" y="connsiteY3"/>
                    </a:cxn>
                  </a:cxnLst>
                  <a:rect l="l" t="t" r="r" b="b"/>
                  <a:pathLst>
                    <a:path w="4738115" h="1534667">
                      <a:moveTo>
                        <a:pt x="0" y="181356"/>
                      </a:moveTo>
                      <a:lnTo>
                        <a:pt x="1045464" y="0"/>
                      </a:lnTo>
                      <a:lnTo>
                        <a:pt x="4738116" y="1309116"/>
                      </a:lnTo>
                      <a:lnTo>
                        <a:pt x="3563113" y="1534668"/>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4" name="Graphic 2">
                  <a:extLst>
                    <a:ext uri="{FF2B5EF4-FFF2-40B4-BE49-F238E27FC236}">
                      <a16:creationId xmlns:a16="http://schemas.microsoft.com/office/drawing/2014/main" id="{12D09C71-36E1-4DE6-8730-BC52F7ED8FC9}"/>
                    </a:ext>
                  </a:extLst>
                </p:cNvPr>
                <p:cNvSpPr/>
                <p:nvPr/>
              </p:nvSpPr>
              <p:spPr>
                <a:xfrm>
                  <a:off x="5800245" y="3275974"/>
                  <a:ext cx="275676" cy="544067"/>
                </a:xfrm>
                <a:custGeom>
                  <a:avLst/>
                  <a:gdLst>
                    <a:gd name="connsiteX0" fmla="*/ 96013 w 7150607"/>
                    <a:gd name="connsiteY0" fmla="*/ 11108435 h 14112240"/>
                    <a:gd name="connsiteX1" fmla="*/ 7103364 w 7150607"/>
                    <a:gd name="connsiteY1" fmla="*/ 14112240 h 14112240"/>
                    <a:gd name="connsiteX2" fmla="*/ 7150608 w 7150607"/>
                    <a:gd name="connsiteY2" fmla="*/ 2717292 h 14112240"/>
                    <a:gd name="connsiteX3" fmla="*/ 0 w 7150607"/>
                    <a:gd name="connsiteY3" fmla="*/ 0 h 14112240"/>
                  </a:gdLst>
                  <a:ahLst/>
                  <a:cxnLst>
                    <a:cxn ang="0">
                      <a:pos x="connsiteX0" y="connsiteY0"/>
                    </a:cxn>
                    <a:cxn ang="0">
                      <a:pos x="connsiteX1" y="connsiteY1"/>
                    </a:cxn>
                    <a:cxn ang="0">
                      <a:pos x="connsiteX2" y="connsiteY2"/>
                    </a:cxn>
                    <a:cxn ang="0">
                      <a:pos x="connsiteX3" y="connsiteY3"/>
                    </a:cxn>
                  </a:cxnLst>
                  <a:rect l="l" t="t" r="r" b="b"/>
                  <a:pathLst>
                    <a:path w="7150607" h="14112240">
                      <a:moveTo>
                        <a:pt x="96013" y="11108435"/>
                      </a:moveTo>
                      <a:lnTo>
                        <a:pt x="7103364" y="14112240"/>
                      </a:lnTo>
                      <a:lnTo>
                        <a:pt x="7150608" y="2717292"/>
                      </a:lnTo>
                      <a:lnTo>
                        <a:pt x="0" y="0"/>
                      </a:lnTo>
                      <a:close/>
                    </a:path>
                  </a:pathLst>
                </a:custGeom>
                <a:solidFill>
                  <a:srgbClr val="D9D9D8"/>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5" name="Graphic 2">
                  <a:extLst>
                    <a:ext uri="{FF2B5EF4-FFF2-40B4-BE49-F238E27FC236}">
                      <a16:creationId xmlns:a16="http://schemas.microsoft.com/office/drawing/2014/main" id="{D1A3B088-169B-4839-A9B1-0903184CD510}"/>
                    </a:ext>
                  </a:extLst>
                </p:cNvPr>
                <p:cNvSpPr/>
                <p:nvPr/>
              </p:nvSpPr>
              <p:spPr>
                <a:xfrm>
                  <a:off x="5670221" y="3296009"/>
                  <a:ext cx="275735" cy="544479"/>
                </a:xfrm>
                <a:custGeom>
                  <a:avLst/>
                  <a:gdLst>
                    <a:gd name="connsiteX0" fmla="*/ 96013 w 7152133"/>
                    <a:gd name="connsiteY0" fmla="*/ 11108436 h 14122907"/>
                    <a:gd name="connsiteX1" fmla="*/ 7141464 w 7152133"/>
                    <a:gd name="connsiteY1" fmla="*/ 14122908 h 14122907"/>
                    <a:gd name="connsiteX2" fmla="*/ 7152133 w 7152133"/>
                    <a:gd name="connsiteY2" fmla="*/ 2717292 h 14122907"/>
                    <a:gd name="connsiteX3" fmla="*/ 0 w 7152133"/>
                    <a:gd name="connsiteY3" fmla="*/ 0 h 14122907"/>
                  </a:gdLst>
                  <a:ahLst/>
                  <a:cxnLst>
                    <a:cxn ang="0">
                      <a:pos x="connsiteX0" y="connsiteY0"/>
                    </a:cxn>
                    <a:cxn ang="0">
                      <a:pos x="connsiteX1" y="connsiteY1"/>
                    </a:cxn>
                    <a:cxn ang="0">
                      <a:pos x="connsiteX2" y="connsiteY2"/>
                    </a:cxn>
                    <a:cxn ang="0">
                      <a:pos x="connsiteX3" y="connsiteY3"/>
                    </a:cxn>
                  </a:cxnLst>
                  <a:rect l="l" t="t" r="r" b="b"/>
                  <a:pathLst>
                    <a:path w="7152133" h="14122907">
                      <a:moveTo>
                        <a:pt x="96013" y="11108436"/>
                      </a:moveTo>
                      <a:lnTo>
                        <a:pt x="7141464" y="14122908"/>
                      </a:lnTo>
                      <a:lnTo>
                        <a:pt x="7152133" y="2717292"/>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6" name="Graphic 2">
                  <a:extLst>
                    <a:ext uri="{FF2B5EF4-FFF2-40B4-BE49-F238E27FC236}">
                      <a16:creationId xmlns:a16="http://schemas.microsoft.com/office/drawing/2014/main" id="{306E4FCD-3236-41C8-B807-E2F7A6654770}"/>
                    </a:ext>
                  </a:extLst>
                </p:cNvPr>
                <p:cNvSpPr/>
                <p:nvPr/>
              </p:nvSpPr>
              <p:spPr>
                <a:xfrm>
                  <a:off x="5670221" y="3275974"/>
                  <a:ext cx="405700" cy="146886"/>
                </a:xfrm>
                <a:custGeom>
                  <a:avLst/>
                  <a:gdLst>
                    <a:gd name="connsiteX0" fmla="*/ 10523220 w 10523220"/>
                    <a:gd name="connsiteY0" fmla="*/ 2717292 h 3810000"/>
                    <a:gd name="connsiteX1" fmla="*/ 3372613 w 10523220"/>
                    <a:gd name="connsiteY1" fmla="*/ 0 h 3810000"/>
                    <a:gd name="connsiteX2" fmla="*/ 0 w 10523220"/>
                    <a:gd name="connsiteY2" fmla="*/ 519684 h 3810000"/>
                    <a:gd name="connsiteX3" fmla="*/ 7152133 w 10523220"/>
                    <a:gd name="connsiteY3" fmla="*/ 3236976 h 3810000"/>
                    <a:gd name="connsiteX4" fmla="*/ 7367018 w 10523220"/>
                    <a:gd name="connsiteY4" fmla="*/ 3557016 h 3810000"/>
                    <a:gd name="connsiteX5" fmla="*/ 9613392 w 10523220"/>
                    <a:gd name="connsiteY5" fmla="*/ 3810000 h 3810000"/>
                    <a:gd name="connsiteX6" fmla="*/ 10460736 w 10523220"/>
                    <a:gd name="connsiteY6" fmla="*/ 3226308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3220" h="3810000">
                      <a:moveTo>
                        <a:pt x="10523220" y="2717292"/>
                      </a:moveTo>
                      <a:lnTo>
                        <a:pt x="3372613" y="0"/>
                      </a:lnTo>
                      <a:lnTo>
                        <a:pt x="0" y="519684"/>
                      </a:lnTo>
                      <a:lnTo>
                        <a:pt x="7152133" y="3236976"/>
                      </a:lnTo>
                      <a:lnTo>
                        <a:pt x="7367018" y="3557016"/>
                      </a:lnTo>
                      <a:lnTo>
                        <a:pt x="9613392" y="3810000"/>
                      </a:lnTo>
                      <a:lnTo>
                        <a:pt x="10460736" y="3226308"/>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7" name="Graphic 2">
                  <a:extLst>
                    <a:ext uri="{FF2B5EF4-FFF2-40B4-BE49-F238E27FC236}">
                      <a16:creationId xmlns:a16="http://schemas.microsoft.com/office/drawing/2014/main" id="{CBD60AB3-A50C-4709-8885-47F11F793446}"/>
                    </a:ext>
                  </a:extLst>
                </p:cNvPr>
                <p:cNvSpPr/>
                <p:nvPr/>
              </p:nvSpPr>
              <p:spPr>
                <a:xfrm>
                  <a:off x="5945721" y="3380792"/>
                  <a:ext cx="130259" cy="467546"/>
                </a:xfrm>
                <a:custGeom>
                  <a:avLst/>
                  <a:gdLst>
                    <a:gd name="connsiteX0" fmla="*/ 6097 w 3378710"/>
                    <a:gd name="connsiteY0" fmla="*/ 518160 h 12127403"/>
                    <a:gd name="connsiteX1" fmla="*/ 3378710 w 3378710"/>
                    <a:gd name="connsiteY1" fmla="*/ 0 h 12127403"/>
                    <a:gd name="connsiteX2" fmla="*/ 3377185 w 3378710"/>
                    <a:gd name="connsiteY2" fmla="*/ 11394947 h 12127403"/>
                    <a:gd name="connsiteX3" fmla="*/ 0 w 3378710"/>
                    <a:gd name="connsiteY3" fmla="*/ 11922251 h 12127403"/>
                    <a:gd name="connsiteX4" fmla="*/ 6097 w 3378710"/>
                    <a:gd name="connsiteY4" fmla="*/ 518160 h 12127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8710" h="12127403">
                      <a:moveTo>
                        <a:pt x="6097" y="518160"/>
                      </a:moveTo>
                      <a:cubicBezTo>
                        <a:pt x="6097" y="518160"/>
                        <a:pt x="2804162" y="1211580"/>
                        <a:pt x="3378710" y="0"/>
                      </a:cubicBezTo>
                      <a:lnTo>
                        <a:pt x="3377185" y="11394947"/>
                      </a:lnTo>
                      <a:cubicBezTo>
                        <a:pt x="3377185" y="11394947"/>
                        <a:pt x="3080005" y="12595860"/>
                        <a:pt x="0" y="11922251"/>
                      </a:cubicBezTo>
                      <a:lnTo>
                        <a:pt x="6097" y="51816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8" name="Graphic 2">
                  <a:extLst>
                    <a:ext uri="{FF2B5EF4-FFF2-40B4-BE49-F238E27FC236}">
                      <a16:creationId xmlns:a16="http://schemas.microsoft.com/office/drawing/2014/main" id="{963EC7F4-DA73-4EF4-A3A1-650252F6E00B}"/>
                    </a:ext>
                  </a:extLst>
                </p:cNvPr>
                <p:cNvSpPr/>
                <p:nvPr/>
              </p:nvSpPr>
              <p:spPr>
                <a:xfrm>
                  <a:off x="6075862" y="3363224"/>
                  <a:ext cx="91011" cy="456817"/>
                </a:xfrm>
                <a:custGeom>
                  <a:avLst/>
                  <a:gdLst>
                    <a:gd name="connsiteX0" fmla="*/ 1523 w 2360676"/>
                    <a:gd name="connsiteY0" fmla="*/ 454152 h 11849100"/>
                    <a:gd name="connsiteX1" fmla="*/ 2360677 w 2360676"/>
                    <a:gd name="connsiteY1" fmla="*/ 0 h 11849100"/>
                    <a:gd name="connsiteX2" fmla="*/ 2360677 w 2360676"/>
                    <a:gd name="connsiteY2" fmla="*/ 11401044 h 11849100"/>
                    <a:gd name="connsiteX3" fmla="*/ 0 w 2360676"/>
                    <a:gd name="connsiteY3" fmla="*/ 11849101 h 11849100"/>
                  </a:gdLst>
                  <a:ahLst/>
                  <a:cxnLst>
                    <a:cxn ang="0">
                      <a:pos x="connsiteX0" y="connsiteY0"/>
                    </a:cxn>
                    <a:cxn ang="0">
                      <a:pos x="connsiteX1" y="connsiteY1"/>
                    </a:cxn>
                    <a:cxn ang="0">
                      <a:pos x="connsiteX2" y="connsiteY2"/>
                    </a:cxn>
                    <a:cxn ang="0">
                      <a:pos x="connsiteX3" y="connsiteY3"/>
                    </a:cxn>
                  </a:cxnLst>
                  <a:rect l="l" t="t" r="r" b="b"/>
                  <a:pathLst>
                    <a:path w="2360676" h="11849100">
                      <a:moveTo>
                        <a:pt x="1523" y="454152"/>
                      </a:moveTo>
                      <a:lnTo>
                        <a:pt x="2360677" y="0"/>
                      </a:lnTo>
                      <a:lnTo>
                        <a:pt x="2360677" y="11401044"/>
                      </a:lnTo>
                      <a:lnTo>
                        <a:pt x="0" y="11849101"/>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99" name="Graphic 2">
                  <a:extLst>
                    <a:ext uri="{FF2B5EF4-FFF2-40B4-BE49-F238E27FC236}">
                      <a16:creationId xmlns:a16="http://schemas.microsoft.com/office/drawing/2014/main" id="{9CC091A4-97CD-4C08-900D-031571382B64}"/>
                    </a:ext>
                  </a:extLst>
                </p:cNvPr>
                <p:cNvSpPr/>
                <p:nvPr/>
              </p:nvSpPr>
              <p:spPr>
                <a:xfrm>
                  <a:off x="5800245" y="3261990"/>
                  <a:ext cx="366628" cy="118743"/>
                </a:xfrm>
                <a:custGeom>
                  <a:avLst/>
                  <a:gdLst>
                    <a:gd name="connsiteX0" fmla="*/ 0 w 9509761"/>
                    <a:gd name="connsiteY0" fmla="*/ 362712 h 3080003"/>
                    <a:gd name="connsiteX1" fmla="*/ 2097023 w 9509761"/>
                    <a:gd name="connsiteY1" fmla="*/ 0 h 3080003"/>
                    <a:gd name="connsiteX2" fmla="*/ 9509761 w 9509761"/>
                    <a:gd name="connsiteY2" fmla="*/ 2625852 h 3080003"/>
                    <a:gd name="connsiteX3" fmla="*/ 7150608 w 9509761"/>
                    <a:gd name="connsiteY3" fmla="*/ 3080004 h 3080003"/>
                  </a:gdLst>
                  <a:ahLst/>
                  <a:cxnLst>
                    <a:cxn ang="0">
                      <a:pos x="connsiteX0" y="connsiteY0"/>
                    </a:cxn>
                    <a:cxn ang="0">
                      <a:pos x="connsiteX1" y="connsiteY1"/>
                    </a:cxn>
                    <a:cxn ang="0">
                      <a:pos x="connsiteX2" y="connsiteY2"/>
                    </a:cxn>
                    <a:cxn ang="0">
                      <a:pos x="connsiteX3" y="connsiteY3"/>
                    </a:cxn>
                  </a:cxnLst>
                  <a:rect l="l" t="t" r="r" b="b"/>
                  <a:pathLst>
                    <a:path w="9509761" h="3080003">
                      <a:moveTo>
                        <a:pt x="0" y="362712"/>
                      </a:moveTo>
                      <a:lnTo>
                        <a:pt x="2097023" y="0"/>
                      </a:lnTo>
                      <a:lnTo>
                        <a:pt x="9509761" y="2625852"/>
                      </a:lnTo>
                      <a:lnTo>
                        <a:pt x="7150608" y="3080004"/>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0" name="Graphic 2">
                  <a:extLst>
                    <a:ext uri="{FF2B5EF4-FFF2-40B4-BE49-F238E27FC236}">
                      <a16:creationId xmlns:a16="http://schemas.microsoft.com/office/drawing/2014/main" id="{49D1D97E-18F1-4E2A-ACBE-D97581B0EF0A}"/>
                    </a:ext>
                  </a:extLst>
                </p:cNvPr>
                <p:cNvSpPr/>
                <p:nvPr/>
              </p:nvSpPr>
              <p:spPr>
                <a:xfrm>
                  <a:off x="6212232" y="3467044"/>
                  <a:ext cx="47885" cy="327204"/>
                </a:xfrm>
                <a:custGeom>
                  <a:avLst/>
                  <a:gdLst>
                    <a:gd name="connsiteX0" fmla="*/ 0 w 1242061"/>
                    <a:gd name="connsiteY0" fmla="*/ 237744 h 8487156"/>
                    <a:gd name="connsiteX1" fmla="*/ 1242061 w 1242061"/>
                    <a:gd name="connsiteY1" fmla="*/ 0 h 8487156"/>
                    <a:gd name="connsiteX2" fmla="*/ 1242061 w 1242061"/>
                    <a:gd name="connsiteY2" fmla="*/ 8249412 h 8487156"/>
                    <a:gd name="connsiteX3" fmla="*/ 0 w 1242061"/>
                    <a:gd name="connsiteY3" fmla="*/ 8487156 h 8487156"/>
                    <a:gd name="connsiteX4" fmla="*/ 0 w 1242061"/>
                    <a:gd name="connsiteY4" fmla="*/ 237744 h 8487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2061" h="8487156">
                      <a:moveTo>
                        <a:pt x="0" y="237744"/>
                      </a:moveTo>
                      <a:lnTo>
                        <a:pt x="1242061" y="0"/>
                      </a:lnTo>
                      <a:lnTo>
                        <a:pt x="1242061" y="8249412"/>
                      </a:lnTo>
                      <a:lnTo>
                        <a:pt x="0" y="8487156"/>
                      </a:lnTo>
                      <a:cubicBezTo>
                        <a:pt x="0" y="8485632"/>
                        <a:pt x="0" y="164592"/>
                        <a:pt x="0" y="237744"/>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1" name="Graphic 2">
                  <a:extLst>
                    <a:ext uri="{FF2B5EF4-FFF2-40B4-BE49-F238E27FC236}">
                      <a16:creationId xmlns:a16="http://schemas.microsoft.com/office/drawing/2014/main" id="{9DFB6422-CE27-4139-890A-A317EA061D79}"/>
                    </a:ext>
                  </a:extLst>
                </p:cNvPr>
                <p:cNvSpPr/>
                <p:nvPr/>
              </p:nvSpPr>
              <p:spPr>
                <a:xfrm>
                  <a:off x="6092490" y="3390545"/>
                  <a:ext cx="62045" cy="50940"/>
                </a:xfrm>
                <a:custGeom>
                  <a:avLst/>
                  <a:gdLst>
                    <a:gd name="connsiteX0" fmla="*/ 3046 w 1609343"/>
                    <a:gd name="connsiteY0" fmla="*/ 306324 h 1321307"/>
                    <a:gd name="connsiteX1" fmla="*/ 1604772 w 1609343"/>
                    <a:gd name="connsiteY1" fmla="*/ 0 h 1321307"/>
                    <a:gd name="connsiteX2" fmla="*/ 1609344 w 1609343"/>
                    <a:gd name="connsiteY2" fmla="*/ 1001268 h 1321307"/>
                    <a:gd name="connsiteX3" fmla="*/ 0 w 1609343"/>
                    <a:gd name="connsiteY3" fmla="*/ 1321308 h 1321307"/>
                  </a:gdLst>
                  <a:ahLst/>
                  <a:cxnLst>
                    <a:cxn ang="0">
                      <a:pos x="connsiteX0" y="connsiteY0"/>
                    </a:cxn>
                    <a:cxn ang="0">
                      <a:pos x="connsiteX1" y="connsiteY1"/>
                    </a:cxn>
                    <a:cxn ang="0">
                      <a:pos x="connsiteX2" y="connsiteY2"/>
                    </a:cxn>
                    <a:cxn ang="0">
                      <a:pos x="connsiteX3" y="connsiteY3"/>
                    </a:cxn>
                  </a:cxnLst>
                  <a:rect l="l" t="t" r="r" b="b"/>
                  <a:pathLst>
                    <a:path w="1609343" h="1321307">
                      <a:moveTo>
                        <a:pt x="3046" y="306324"/>
                      </a:moveTo>
                      <a:lnTo>
                        <a:pt x="1604772" y="0"/>
                      </a:lnTo>
                      <a:lnTo>
                        <a:pt x="1609344" y="1001268"/>
                      </a:lnTo>
                      <a:lnTo>
                        <a:pt x="0" y="1321308"/>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2" name="Graphic 2">
                  <a:extLst>
                    <a:ext uri="{FF2B5EF4-FFF2-40B4-BE49-F238E27FC236}">
                      <a16:creationId xmlns:a16="http://schemas.microsoft.com/office/drawing/2014/main" id="{3B738933-ACC0-4A2D-9342-37A771CF6C12}"/>
                    </a:ext>
                  </a:extLst>
                </p:cNvPr>
                <p:cNvSpPr/>
                <p:nvPr/>
              </p:nvSpPr>
              <p:spPr>
                <a:xfrm>
                  <a:off x="6268401" y="3468747"/>
                  <a:ext cx="35253" cy="29025"/>
                </a:xfrm>
                <a:custGeom>
                  <a:avLst/>
                  <a:gdLst>
                    <a:gd name="connsiteX0" fmla="*/ 1523 w 914400"/>
                    <a:gd name="connsiteY0" fmla="*/ 173736 h 752856"/>
                    <a:gd name="connsiteX1" fmla="*/ 911351 w 914400"/>
                    <a:gd name="connsiteY1" fmla="*/ 0 h 752856"/>
                    <a:gd name="connsiteX2" fmla="*/ 914400 w 914400"/>
                    <a:gd name="connsiteY2" fmla="*/ 569976 h 752856"/>
                    <a:gd name="connsiteX3" fmla="*/ 0 w 914400"/>
                    <a:gd name="connsiteY3" fmla="*/ 752856 h 752856"/>
                  </a:gdLst>
                  <a:ahLst/>
                  <a:cxnLst>
                    <a:cxn ang="0">
                      <a:pos x="connsiteX0" y="connsiteY0"/>
                    </a:cxn>
                    <a:cxn ang="0">
                      <a:pos x="connsiteX1" y="connsiteY1"/>
                    </a:cxn>
                    <a:cxn ang="0">
                      <a:pos x="connsiteX2" y="connsiteY2"/>
                    </a:cxn>
                    <a:cxn ang="0">
                      <a:pos x="connsiteX3" y="connsiteY3"/>
                    </a:cxn>
                  </a:cxnLst>
                  <a:rect l="l" t="t" r="r" b="b"/>
                  <a:pathLst>
                    <a:path w="914400" h="752856">
                      <a:moveTo>
                        <a:pt x="1523" y="173736"/>
                      </a:moveTo>
                      <a:lnTo>
                        <a:pt x="911351" y="0"/>
                      </a:lnTo>
                      <a:lnTo>
                        <a:pt x="914400" y="569976"/>
                      </a:lnTo>
                      <a:lnTo>
                        <a:pt x="0" y="752856"/>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103" name="Graphic 2">
                  <a:extLst>
                    <a:ext uri="{FF2B5EF4-FFF2-40B4-BE49-F238E27FC236}">
                      <a16:creationId xmlns:a16="http://schemas.microsoft.com/office/drawing/2014/main" id="{0F6AB7AC-0FE0-4057-BCA4-9A881400EFED}"/>
                    </a:ext>
                  </a:extLst>
                </p:cNvPr>
                <p:cNvSpPr/>
                <p:nvPr/>
              </p:nvSpPr>
              <p:spPr>
                <a:xfrm>
                  <a:off x="6268401" y="3502884"/>
                  <a:ext cx="35253" cy="28966"/>
                </a:xfrm>
                <a:custGeom>
                  <a:avLst/>
                  <a:gdLst>
                    <a:gd name="connsiteX0" fmla="*/ 1523 w 914400"/>
                    <a:gd name="connsiteY0" fmla="*/ 173736 h 751332"/>
                    <a:gd name="connsiteX1" fmla="*/ 911351 w 914400"/>
                    <a:gd name="connsiteY1" fmla="*/ 0 h 751332"/>
                    <a:gd name="connsiteX2" fmla="*/ 914400 w 914400"/>
                    <a:gd name="connsiteY2" fmla="*/ 569976 h 751332"/>
                    <a:gd name="connsiteX3" fmla="*/ 0 w 914400"/>
                    <a:gd name="connsiteY3" fmla="*/ 751332 h 751332"/>
                  </a:gdLst>
                  <a:ahLst/>
                  <a:cxnLst>
                    <a:cxn ang="0">
                      <a:pos x="connsiteX0" y="connsiteY0"/>
                    </a:cxn>
                    <a:cxn ang="0">
                      <a:pos x="connsiteX1" y="connsiteY1"/>
                    </a:cxn>
                    <a:cxn ang="0">
                      <a:pos x="connsiteX2" y="connsiteY2"/>
                    </a:cxn>
                    <a:cxn ang="0">
                      <a:pos x="connsiteX3" y="connsiteY3"/>
                    </a:cxn>
                  </a:cxnLst>
                  <a:rect l="l" t="t" r="r" b="b"/>
                  <a:pathLst>
                    <a:path w="914400" h="751332">
                      <a:moveTo>
                        <a:pt x="1523" y="173736"/>
                      </a:moveTo>
                      <a:lnTo>
                        <a:pt x="911351" y="0"/>
                      </a:lnTo>
                      <a:lnTo>
                        <a:pt x="914400" y="569976"/>
                      </a:lnTo>
                      <a:lnTo>
                        <a:pt x="0" y="75133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53" name="Group 752">
                <a:extLst>
                  <a:ext uri="{FF2B5EF4-FFF2-40B4-BE49-F238E27FC236}">
                    <a16:creationId xmlns:a16="http://schemas.microsoft.com/office/drawing/2014/main" id="{D9F70921-C01B-4710-B4E0-5E6C1698400F}"/>
                  </a:ext>
                </a:extLst>
              </p:cNvPr>
              <p:cNvGrpSpPr/>
              <p:nvPr/>
            </p:nvGrpSpPr>
            <p:grpSpPr>
              <a:xfrm>
                <a:off x="7862265" y="3834611"/>
                <a:ext cx="426020" cy="266888"/>
                <a:chOff x="7862265" y="3834611"/>
                <a:chExt cx="426020" cy="266888"/>
              </a:xfrm>
            </p:grpSpPr>
            <p:sp>
              <p:nvSpPr>
                <p:cNvPr id="2083" name="Graphic 2">
                  <a:extLst>
                    <a:ext uri="{FF2B5EF4-FFF2-40B4-BE49-F238E27FC236}">
                      <a16:creationId xmlns:a16="http://schemas.microsoft.com/office/drawing/2014/main" id="{7969B623-1679-45AA-A195-C32817E3491B}"/>
                    </a:ext>
                  </a:extLst>
                </p:cNvPr>
                <p:cNvSpPr/>
                <p:nvPr/>
              </p:nvSpPr>
              <p:spPr>
                <a:xfrm>
                  <a:off x="7891710" y="3872485"/>
                  <a:ext cx="53044" cy="131497"/>
                </a:xfrm>
                <a:custGeom>
                  <a:avLst/>
                  <a:gdLst>
                    <a:gd name="connsiteX0" fmla="*/ 927517 w 970206"/>
                    <a:gd name="connsiteY0" fmla="*/ 2401225 h 2405196"/>
                    <a:gd name="connsiteX1" fmla="*/ 927517 w 970206"/>
                    <a:gd name="connsiteY1" fmla="*/ 2401225 h 2405196"/>
                    <a:gd name="connsiteX2" fmla="*/ 843694 w 970206"/>
                    <a:gd name="connsiteY2" fmla="*/ 2363125 h 2405196"/>
                    <a:gd name="connsiteX3" fmla="*/ 3973 w 970206"/>
                    <a:gd name="connsiteY3" fmla="*/ 87790 h 2405196"/>
                    <a:gd name="connsiteX4" fmla="*/ 42073 w 970206"/>
                    <a:gd name="connsiteY4" fmla="*/ 3971 h 2405196"/>
                    <a:gd name="connsiteX5" fmla="*/ 42073 w 970206"/>
                    <a:gd name="connsiteY5" fmla="*/ 3971 h 2405196"/>
                    <a:gd name="connsiteX6" fmla="*/ 125891 w 970206"/>
                    <a:gd name="connsiteY6" fmla="*/ 42071 h 2405196"/>
                    <a:gd name="connsiteX7" fmla="*/ 965617 w 970206"/>
                    <a:gd name="connsiteY7" fmla="*/ 2317402 h 2405196"/>
                    <a:gd name="connsiteX8" fmla="*/ 927517 w 970206"/>
                    <a:gd name="connsiteY8" fmla="*/ 2401225 h 240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206" h="2405196">
                      <a:moveTo>
                        <a:pt x="927517" y="2401225"/>
                      </a:moveTo>
                      <a:lnTo>
                        <a:pt x="927517" y="2401225"/>
                      </a:lnTo>
                      <a:cubicBezTo>
                        <a:pt x="893989" y="2413415"/>
                        <a:pt x="855889" y="2396653"/>
                        <a:pt x="843694" y="2363125"/>
                      </a:cubicBezTo>
                      <a:lnTo>
                        <a:pt x="3973" y="87790"/>
                      </a:lnTo>
                      <a:cubicBezTo>
                        <a:pt x="-8221" y="54261"/>
                        <a:pt x="8545" y="16161"/>
                        <a:pt x="42073" y="3971"/>
                      </a:cubicBezTo>
                      <a:lnTo>
                        <a:pt x="42073" y="3971"/>
                      </a:lnTo>
                      <a:cubicBezTo>
                        <a:pt x="75601" y="-8219"/>
                        <a:pt x="113701" y="8543"/>
                        <a:pt x="125891" y="42071"/>
                      </a:cubicBezTo>
                      <a:lnTo>
                        <a:pt x="965617" y="2317402"/>
                      </a:lnTo>
                      <a:cubicBezTo>
                        <a:pt x="979332" y="2352456"/>
                        <a:pt x="961045" y="2389031"/>
                        <a:pt x="927517" y="2401225"/>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4" name="Graphic 2">
                  <a:extLst>
                    <a:ext uri="{FF2B5EF4-FFF2-40B4-BE49-F238E27FC236}">
                      <a16:creationId xmlns:a16="http://schemas.microsoft.com/office/drawing/2014/main" id="{56A1D73E-D260-48B9-A6BB-41F0DC2E53F7}"/>
                    </a:ext>
                  </a:extLst>
                </p:cNvPr>
                <p:cNvSpPr/>
                <p:nvPr/>
              </p:nvSpPr>
              <p:spPr>
                <a:xfrm>
                  <a:off x="7892210" y="3872318"/>
                  <a:ext cx="53044" cy="131497"/>
                </a:xfrm>
                <a:custGeom>
                  <a:avLst/>
                  <a:gdLst>
                    <a:gd name="connsiteX0" fmla="*/ 927517 w 970206"/>
                    <a:gd name="connsiteY0" fmla="*/ 2401222 h 2405195"/>
                    <a:gd name="connsiteX1" fmla="*/ 927517 w 970206"/>
                    <a:gd name="connsiteY1" fmla="*/ 2401222 h 2405195"/>
                    <a:gd name="connsiteX2" fmla="*/ 843699 w 970206"/>
                    <a:gd name="connsiteY2" fmla="*/ 2363122 h 2405195"/>
                    <a:gd name="connsiteX3" fmla="*/ 3973 w 970206"/>
                    <a:gd name="connsiteY3" fmla="*/ 87791 h 2405195"/>
                    <a:gd name="connsiteX4" fmla="*/ 42073 w 970206"/>
                    <a:gd name="connsiteY4" fmla="*/ 3973 h 2405195"/>
                    <a:gd name="connsiteX5" fmla="*/ 42073 w 970206"/>
                    <a:gd name="connsiteY5" fmla="*/ 3973 h 2405195"/>
                    <a:gd name="connsiteX6" fmla="*/ 125891 w 970206"/>
                    <a:gd name="connsiteY6" fmla="*/ 42073 h 2405195"/>
                    <a:gd name="connsiteX7" fmla="*/ 965617 w 970206"/>
                    <a:gd name="connsiteY7" fmla="*/ 2317404 h 2405195"/>
                    <a:gd name="connsiteX8" fmla="*/ 927517 w 970206"/>
                    <a:gd name="connsiteY8" fmla="*/ 2401222 h 24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206" h="2405195">
                      <a:moveTo>
                        <a:pt x="927517" y="2401222"/>
                      </a:moveTo>
                      <a:lnTo>
                        <a:pt x="927517" y="2401222"/>
                      </a:lnTo>
                      <a:cubicBezTo>
                        <a:pt x="893989" y="2413417"/>
                        <a:pt x="855889" y="2396651"/>
                        <a:pt x="843699" y="2363122"/>
                      </a:cubicBezTo>
                      <a:lnTo>
                        <a:pt x="3973" y="87791"/>
                      </a:lnTo>
                      <a:cubicBezTo>
                        <a:pt x="-8221" y="54263"/>
                        <a:pt x="8545" y="16163"/>
                        <a:pt x="42073" y="3973"/>
                      </a:cubicBezTo>
                      <a:lnTo>
                        <a:pt x="42073" y="3973"/>
                      </a:lnTo>
                      <a:cubicBezTo>
                        <a:pt x="75601" y="-8221"/>
                        <a:pt x="113701" y="8545"/>
                        <a:pt x="125891" y="42073"/>
                      </a:cubicBezTo>
                      <a:lnTo>
                        <a:pt x="965617" y="2317404"/>
                      </a:lnTo>
                      <a:cubicBezTo>
                        <a:pt x="979332" y="2352458"/>
                        <a:pt x="961045" y="2389032"/>
                        <a:pt x="927517" y="2401222"/>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5" name="Graphic 2">
                  <a:extLst>
                    <a:ext uri="{FF2B5EF4-FFF2-40B4-BE49-F238E27FC236}">
                      <a16:creationId xmlns:a16="http://schemas.microsoft.com/office/drawing/2014/main" id="{242C7274-588B-445F-833C-55291E2B6822}"/>
                    </a:ext>
                  </a:extLst>
                </p:cNvPr>
                <p:cNvSpPr/>
                <p:nvPr/>
              </p:nvSpPr>
              <p:spPr>
                <a:xfrm>
                  <a:off x="8039725" y="3834611"/>
                  <a:ext cx="20940" cy="139005"/>
                </a:xfrm>
                <a:custGeom>
                  <a:avLst/>
                  <a:gdLst>
                    <a:gd name="connsiteX0" fmla="*/ 58156 w 383012"/>
                    <a:gd name="connsiteY0" fmla="*/ 2542279 h 2542522"/>
                    <a:gd name="connsiteX1" fmla="*/ 58156 w 383012"/>
                    <a:gd name="connsiteY1" fmla="*/ 2542279 h 2542522"/>
                    <a:gd name="connsiteX2" fmla="*/ 243 w 383012"/>
                    <a:gd name="connsiteY2" fmla="*/ 2470651 h 2542522"/>
                    <a:gd name="connsiteX3" fmla="*/ 253228 w 383012"/>
                    <a:gd name="connsiteY3" fmla="*/ 58156 h 2542522"/>
                    <a:gd name="connsiteX4" fmla="*/ 324856 w 383012"/>
                    <a:gd name="connsiteY4" fmla="*/ 243 h 2542522"/>
                    <a:gd name="connsiteX5" fmla="*/ 324856 w 383012"/>
                    <a:gd name="connsiteY5" fmla="*/ 243 h 2542522"/>
                    <a:gd name="connsiteX6" fmla="*/ 382769 w 383012"/>
                    <a:gd name="connsiteY6" fmla="*/ 71872 h 2542522"/>
                    <a:gd name="connsiteX7" fmla="*/ 129784 w 383012"/>
                    <a:gd name="connsiteY7" fmla="*/ 2484366 h 2542522"/>
                    <a:gd name="connsiteX8" fmla="*/ 58156 w 383012"/>
                    <a:gd name="connsiteY8" fmla="*/ 2542279 h 254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12" h="2542522">
                      <a:moveTo>
                        <a:pt x="58156" y="2542279"/>
                      </a:moveTo>
                      <a:lnTo>
                        <a:pt x="58156" y="2542279"/>
                      </a:lnTo>
                      <a:cubicBezTo>
                        <a:pt x="23102" y="2539228"/>
                        <a:pt x="-2803" y="2507225"/>
                        <a:pt x="243" y="2470651"/>
                      </a:cubicBezTo>
                      <a:lnTo>
                        <a:pt x="253228" y="58156"/>
                      </a:lnTo>
                      <a:cubicBezTo>
                        <a:pt x="256274" y="23102"/>
                        <a:pt x="288282" y="-2803"/>
                        <a:pt x="324856" y="243"/>
                      </a:cubicBezTo>
                      <a:lnTo>
                        <a:pt x="324856" y="243"/>
                      </a:lnTo>
                      <a:cubicBezTo>
                        <a:pt x="359910" y="3294"/>
                        <a:pt x="385815" y="35297"/>
                        <a:pt x="382769" y="71872"/>
                      </a:cubicBezTo>
                      <a:lnTo>
                        <a:pt x="129784" y="2484366"/>
                      </a:lnTo>
                      <a:cubicBezTo>
                        <a:pt x="125212" y="2519415"/>
                        <a:pt x="93210" y="2545325"/>
                        <a:pt x="58156" y="2542279"/>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6" name="Graphic 2">
                  <a:extLst>
                    <a:ext uri="{FF2B5EF4-FFF2-40B4-BE49-F238E27FC236}">
                      <a16:creationId xmlns:a16="http://schemas.microsoft.com/office/drawing/2014/main" id="{163B5834-7E5A-4B63-8A2F-A511616D9AE5}"/>
                    </a:ext>
                  </a:extLst>
                </p:cNvPr>
                <p:cNvSpPr/>
                <p:nvPr/>
              </p:nvSpPr>
              <p:spPr>
                <a:xfrm>
                  <a:off x="8040225" y="3834611"/>
                  <a:ext cx="20940" cy="139020"/>
                </a:xfrm>
                <a:custGeom>
                  <a:avLst/>
                  <a:gdLst>
                    <a:gd name="connsiteX0" fmla="*/ 58156 w 383012"/>
                    <a:gd name="connsiteY0" fmla="*/ 2542279 h 2542802"/>
                    <a:gd name="connsiteX1" fmla="*/ 58156 w 383012"/>
                    <a:gd name="connsiteY1" fmla="*/ 2542279 h 2542802"/>
                    <a:gd name="connsiteX2" fmla="*/ 243 w 383012"/>
                    <a:gd name="connsiteY2" fmla="*/ 2470651 h 2542802"/>
                    <a:gd name="connsiteX3" fmla="*/ 253228 w 383012"/>
                    <a:gd name="connsiteY3" fmla="*/ 58156 h 2542802"/>
                    <a:gd name="connsiteX4" fmla="*/ 324856 w 383012"/>
                    <a:gd name="connsiteY4" fmla="*/ 243 h 2542802"/>
                    <a:gd name="connsiteX5" fmla="*/ 324856 w 383012"/>
                    <a:gd name="connsiteY5" fmla="*/ 243 h 2542802"/>
                    <a:gd name="connsiteX6" fmla="*/ 382769 w 383012"/>
                    <a:gd name="connsiteY6" fmla="*/ 71872 h 2542802"/>
                    <a:gd name="connsiteX7" fmla="*/ 129784 w 383012"/>
                    <a:gd name="connsiteY7" fmla="*/ 2485887 h 2542802"/>
                    <a:gd name="connsiteX8" fmla="*/ 58156 w 383012"/>
                    <a:gd name="connsiteY8" fmla="*/ 2542279 h 254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12" h="2542802">
                      <a:moveTo>
                        <a:pt x="58156" y="2542279"/>
                      </a:moveTo>
                      <a:lnTo>
                        <a:pt x="58156" y="2542279"/>
                      </a:lnTo>
                      <a:cubicBezTo>
                        <a:pt x="23102" y="2539228"/>
                        <a:pt x="-2803" y="2507225"/>
                        <a:pt x="243" y="2470651"/>
                      </a:cubicBezTo>
                      <a:lnTo>
                        <a:pt x="253228" y="58156"/>
                      </a:lnTo>
                      <a:cubicBezTo>
                        <a:pt x="256274" y="23102"/>
                        <a:pt x="288282" y="-2803"/>
                        <a:pt x="324856" y="243"/>
                      </a:cubicBezTo>
                      <a:lnTo>
                        <a:pt x="324856" y="243"/>
                      </a:lnTo>
                      <a:cubicBezTo>
                        <a:pt x="359910" y="3294"/>
                        <a:pt x="385815" y="35297"/>
                        <a:pt x="382769" y="71872"/>
                      </a:cubicBezTo>
                      <a:lnTo>
                        <a:pt x="129784" y="2485887"/>
                      </a:lnTo>
                      <a:cubicBezTo>
                        <a:pt x="126738" y="2520941"/>
                        <a:pt x="93210" y="2546851"/>
                        <a:pt x="58156" y="2542279"/>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7" name="Graphic 2">
                  <a:extLst>
                    <a:ext uri="{FF2B5EF4-FFF2-40B4-BE49-F238E27FC236}">
                      <a16:creationId xmlns:a16="http://schemas.microsoft.com/office/drawing/2014/main" id="{58DEBEB2-AE8A-4FD2-BDAA-B2704E617D87}"/>
                    </a:ext>
                  </a:extLst>
                </p:cNvPr>
                <p:cNvSpPr/>
                <p:nvPr/>
              </p:nvSpPr>
              <p:spPr>
                <a:xfrm>
                  <a:off x="7862265" y="3987184"/>
                  <a:ext cx="426020" cy="114315"/>
                </a:xfrm>
                <a:custGeom>
                  <a:avLst/>
                  <a:gdLst>
                    <a:gd name="connsiteX0" fmla="*/ 0 w 7792212"/>
                    <a:gd name="connsiteY0" fmla="*/ 0 h 2090928"/>
                    <a:gd name="connsiteX1" fmla="*/ 0 w 7792212"/>
                    <a:gd name="connsiteY1" fmla="*/ 894592 h 2090928"/>
                    <a:gd name="connsiteX2" fmla="*/ 3073906 w 7792212"/>
                    <a:gd name="connsiteY2" fmla="*/ 2090928 h 2090928"/>
                    <a:gd name="connsiteX3" fmla="*/ 7792213 w 7792212"/>
                    <a:gd name="connsiteY3" fmla="*/ 1205485 h 2090928"/>
                    <a:gd name="connsiteX4" fmla="*/ 7763257 w 7792212"/>
                    <a:gd name="connsiteY4" fmla="*/ 553213 h 2090928"/>
                    <a:gd name="connsiteX5" fmla="*/ 3122675 w 7792212"/>
                    <a:gd name="connsiteY5" fmla="*/ 1427992 h 2090928"/>
                    <a:gd name="connsiteX6" fmla="*/ 0 w 7792212"/>
                    <a:gd name="connsiteY6" fmla="*/ 0 h 209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2212" h="2090928">
                      <a:moveTo>
                        <a:pt x="0" y="0"/>
                      </a:moveTo>
                      <a:lnTo>
                        <a:pt x="0" y="894592"/>
                      </a:lnTo>
                      <a:lnTo>
                        <a:pt x="3073906" y="2090928"/>
                      </a:lnTo>
                      <a:lnTo>
                        <a:pt x="7792213" y="1205485"/>
                      </a:lnTo>
                      <a:lnTo>
                        <a:pt x="7763257" y="553213"/>
                      </a:lnTo>
                      <a:lnTo>
                        <a:pt x="3122675" y="1427992"/>
                      </a:lnTo>
                      <a:cubicBezTo>
                        <a:pt x="3122675" y="1429513"/>
                        <a:pt x="2343913" y="272797"/>
                        <a:pt x="0" y="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8" name="Graphic 2">
                  <a:extLst>
                    <a:ext uri="{FF2B5EF4-FFF2-40B4-BE49-F238E27FC236}">
                      <a16:creationId xmlns:a16="http://schemas.microsoft.com/office/drawing/2014/main" id="{60133E53-D745-4264-986B-5B05A21231C6}"/>
                    </a:ext>
                  </a:extLst>
                </p:cNvPr>
                <p:cNvSpPr/>
                <p:nvPr/>
              </p:nvSpPr>
              <p:spPr>
                <a:xfrm>
                  <a:off x="7862265" y="3948857"/>
                  <a:ext cx="424353" cy="116482"/>
                </a:xfrm>
                <a:custGeom>
                  <a:avLst/>
                  <a:gdLst>
                    <a:gd name="connsiteX0" fmla="*/ 0 w 7761730"/>
                    <a:gd name="connsiteY0" fmla="*/ 701036 h 2130549"/>
                    <a:gd name="connsiteX1" fmla="*/ 4873749 w 7761730"/>
                    <a:gd name="connsiteY1" fmla="*/ 0 h 2130549"/>
                    <a:gd name="connsiteX2" fmla="*/ 5846062 w 7761730"/>
                    <a:gd name="connsiteY2" fmla="*/ 451103 h 2130549"/>
                    <a:gd name="connsiteX3" fmla="*/ 6332218 w 7761730"/>
                    <a:gd name="connsiteY3" fmla="*/ 652272 h 2130549"/>
                    <a:gd name="connsiteX4" fmla="*/ 7761731 w 7761730"/>
                    <a:gd name="connsiteY4" fmla="*/ 1255775 h 2130549"/>
                    <a:gd name="connsiteX5" fmla="*/ 3121149 w 7761730"/>
                    <a:gd name="connsiteY5" fmla="*/ 2130549 h 2130549"/>
                    <a:gd name="connsiteX6" fmla="*/ 1652016 w 7761730"/>
                    <a:gd name="connsiteY6" fmla="*/ 1478277 h 2130549"/>
                    <a:gd name="connsiteX7" fmla="*/ 1126234 w 7761730"/>
                    <a:gd name="connsiteY7" fmla="*/ 1216149 h 2130549"/>
                    <a:gd name="connsiteX8" fmla="*/ 0 w 7761730"/>
                    <a:gd name="connsiteY8" fmla="*/ 701036 h 213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61730" h="2130549">
                      <a:moveTo>
                        <a:pt x="0" y="701036"/>
                      </a:moveTo>
                      <a:lnTo>
                        <a:pt x="4873749" y="0"/>
                      </a:lnTo>
                      <a:cubicBezTo>
                        <a:pt x="4873749" y="0"/>
                        <a:pt x="5535165" y="91436"/>
                        <a:pt x="5846062" y="451103"/>
                      </a:cubicBezTo>
                      <a:cubicBezTo>
                        <a:pt x="5846062" y="451103"/>
                        <a:pt x="6012177" y="626362"/>
                        <a:pt x="6332218" y="652272"/>
                      </a:cubicBezTo>
                      <a:cubicBezTo>
                        <a:pt x="6332218" y="652272"/>
                        <a:pt x="7304531" y="896108"/>
                        <a:pt x="7761731" y="1255775"/>
                      </a:cubicBezTo>
                      <a:lnTo>
                        <a:pt x="3121149" y="2130549"/>
                      </a:lnTo>
                      <a:cubicBezTo>
                        <a:pt x="3121149" y="2130549"/>
                        <a:pt x="1944621" y="1469134"/>
                        <a:pt x="1652016" y="1478277"/>
                      </a:cubicBezTo>
                      <a:cubicBezTo>
                        <a:pt x="1360931" y="1487421"/>
                        <a:pt x="1126234" y="1216149"/>
                        <a:pt x="1126234" y="1216149"/>
                      </a:cubicBezTo>
                      <a:cubicBezTo>
                        <a:pt x="1126234" y="1216149"/>
                        <a:pt x="437387" y="807718"/>
                        <a:pt x="0" y="701036"/>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54" name="Group 753">
                <a:extLst>
                  <a:ext uri="{FF2B5EF4-FFF2-40B4-BE49-F238E27FC236}">
                    <a16:creationId xmlns:a16="http://schemas.microsoft.com/office/drawing/2014/main" id="{E749B592-C29C-4D54-AF06-7069D2E3E314}"/>
                  </a:ext>
                </a:extLst>
              </p:cNvPr>
              <p:cNvGrpSpPr/>
              <p:nvPr/>
            </p:nvGrpSpPr>
            <p:grpSpPr>
              <a:xfrm>
                <a:off x="6172200" y="5304400"/>
                <a:ext cx="355643" cy="328883"/>
                <a:chOff x="6172200" y="5304400"/>
                <a:chExt cx="355643" cy="328883"/>
              </a:xfrm>
            </p:grpSpPr>
            <p:sp>
              <p:nvSpPr>
                <p:cNvPr id="2069" name="Graphic 2">
                  <a:extLst>
                    <a:ext uri="{FF2B5EF4-FFF2-40B4-BE49-F238E27FC236}">
                      <a16:creationId xmlns:a16="http://schemas.microsoft.com/office/drawing/2014/main" id="{AEFB1A43-7A6E-4551-AC51-0732CC9D0747}"/>
                    </a:ext>
                  </a:extLst>
                </p:cNvPr>
                <p:cNvSpPr/>
                <p:nvPr/>
              </p:nvSpPr>
              <p:spPr>
                <a:xfrm>
                  <a:off x="6277184" y="5304400"/>
                  <a:ext cx="234948" cy="283853"/>
                </a:xfrm>
                <a:custGeom>
                  <a:avLst/>
                  <a:gdLst>
                    <a:gd name="connsiteX0" fmla="*/ 5446775 w 5446774"/>
                    <a:gd name="connsiteY0" fmla="*/ 978349 h 6580574"/>
                    <a:gd name="connsiteX1" fmla="*/ 2043682 w 5446774"/>
                    <a:gd name="connsiteY1" fmla="*/ 24323 h 6580574"/>
                    <a:gd name="connsiteX2" fmla="*/ 1764790 w 5446774"/>
                    <a:gd name="connsiteY2" fmla="*/ 7561 h 6580574"/>
                    <a:gd name="connsiteX3" fmla="*/ 537972 w 5446774"/>
                    <a:gd name="connsiteY3" fmla="*/ 195015 h 6580574"/>
                    <a:gd name="connsiteX4" fmla="*/ 0 w 5446774"/>
                    <a:gd name="connsiteY4" fmla="*/ 822902 h 6580574"/>
                    <a:gd name="connsiteX5" fmla="*/ 0 w 5446774"/>
                    <a:gd name="connsiteY5" fmla="*/ 5705795 h 6580574"/>
                    <a:gd name="connsiteX6" fmla="*/ 4105654 w 5446774"/>
                    <a:gd name="connsiteY6" fmla="*/ 6580574 h 6580574"/>
                    <a:gd name="connsiteX7" fmla="*/ 5446775 w 5446774"/>
                    <a:gd name="connsiteY7" fmla="*/ 978349 h 6580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6774" h="6580574">
                      <a:moveTo>
                        <a:pt x="5446775" y="978349"/>
                      </a:moveTo>
                      <a:lnTo>
                        <a:pt x="2043682" y="24323"/>
                      </a:lnTo>
                      <a:cubicBezTo>
                        <a:pt x="1953767" y="-1582"/>
                        <a:pt x="1857754" y="-6154"/>
                        <a:pt x="1764790" y="7561"/>
                      </a:cubicBezTo>
                      <a:lnTo>
                        <a:pt x="537972" y="195015"/>
                      </a:lnTo>
                      <a:cubicBezTo>
                        <a:pt x="228600" y="242259"/>
                        <a:pt x="0" y="508959"/>
                        <a:pt x="0" y="822902"/>
                      </a:cubicBezTo>
                      <a:lnTo>
                        <a:pt x="0" y="5705795"/>
                      </a:lnTo>
                      <a:lnTo>
                        <a:pt x="4105654" y="6580574"/>
                      </a:lnTo>
                      <a:lnTo>
                        <a:pt x="5446775" y="978349"/>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0" name="Graphic 2">
                  <a:extLst>
                    <a:ext uri="{FF2B5EF4-FFF2-40B4-BE49-F238E27FC236}">
                      <a16:creationId xmlns:a16="http://schemas.microsoft.com/office/drawing/2014/main" id="{F7F43A4C-216B-442E-BE01-9B2A97EEE21F}"/>
                    </a:ext>
                  </a:extLst>
                </p:cNvPr>
                <p:cNvSpPr/>
                <p:nvPr/>
              </p:nvSpPr>
              <p:spPr>
                <a:xfrm>
                  <a:off x="6439688" y="5345876"/>
                  <a:ext cx="88155" cy="243240"/>
                </a:xfrm>
                <a:custGeom>
                  <a:avLst/>
                  <a:gdLst>
                    <a:gd name="connsiteX0" fmla="*/ 0 w 2043682"/>
                    <a:gd name="connsiteY0" fmla="*/ 728513 h 5639044"/>
                    <a:gd name="connsiteX1" fmla="*/ 0 w 2043682"/>
                    <a:gd name="connsiteY1" fmla="*/ 5160303 h 5639044"/>
                    <a:gd name="connsiteX2" fmla="*/ 609600 w 2043682"/>
                    <a:gd name="connsiteY2" fmla="*/ 5620549 h 5639044"/>
                    <a:gd name="connsiteX3" fmla="*/ 1696210 w 2043682"/>
                    <a:gd name="connsiteY3" fmla="*/ 5309657 h 5639044"/>
                    <a:gd name="connsiteX4" fmla="*/ 2043682 w 2043682"/>
                    <a:gd name="connsiteY4" fmla="*/ 4849406 h 5639044"/>
                    <a:gd name="connsiteX5" fmla="*/ 2043682 w 2043682"/>
                    <a:gd name="connsiteY5" fmla="*/ 478575 h 5639044"/>
                    <a:gd name="connsiteX6" fmla="*/ 1458467 w 2043682"/>
                    <a:gd name="connsiteY6" fmla="*/ 12231 h 5639044"/>
                    <a:gd name="connsiteX7" fmla="*/ 371854 w 2043682"/>
                    <a:gd name="connsiteY7" fmla="*/ 260644 h 5639044"/>
                    <a:gd name="connsiteX8" fmla="*/ 0 w 2043682"/>
                    <a:gd name="connsiteY8" fmla="*/ 728513 h 563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3682" h="5639044">
                      <a:moveTo>
                        <a:pt x="0" y="728513"/>
                      </a:moveTo>
                      <a:lnTo>
                        <a:pt x="0" y="5160303"/>
                      </a:lnTo>
                      <a:cubicBezTo>
                        <a:pt x="0" y="5477298"/>
                        <a:pt x="304800" y="5707418"/>
                        <a:pt x="609600" y="5620549"/>
                      </a:cubicBezTo>
                      <a:lnTo>
                        <a:pt x="1696210" y="5309657"/>
                      </a:lnTo>
                      <a:cubicBezTo>
                        <a:pt x="1901951" y="5251744"/>
                        <a:pt x="2043682" y="5062769"/>
                        <a:pt x="2043682" y="4849406"/>
                      </a:cubicBezTo>
                      <a:lnTo>
                        <a:pt x="2043682" y="478575"/>
                      </a:lnTo>
                      <a:cubicBezTo>
                        <a:pt x="2043682" y="172249"/>
                        <a:pt x="1758695" y="-56351"/>
                        <a:pt x="1458467" y="12231"/>
                      </a:cubicBezTo>
                      <a:lnTo>
                        <a:pt x="371854" y="260644"/>
                      </a:lnTo>
                      <a:cubicBezTo>
                        <a:pt x="155446" y="312459"/>
                        <a:pt x="0" y="506005"/>
                        <a:pt x="0" y="728513"/>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1" name="Graphic 2">
                  <a:extLst>
                    <a:ext uri="{FF2B5EF4-FFF2-40B4-BE49-F238E27FC236}">
                      <a16:creationId xmlns:a16="http://schemas.microsoft.com/office/drawing/2014/main" id="{10986D2A-D3F5-4672-8038-1764BA8E190D}"/>
                    </a:ext>
                  </a:extLst>
                </p:cNvPr>
                <p:cNvSpPr/>
                <p:nvPr/>
              </p:nvSpPr>
              <p:spPr>
                <a:xfrm>
                  <a:off x="6227486" y="5592986"/>
                  <a:ext cx="133711" cy="36945"/>
                </a:xfrm>
                <a:custGeom>
                  <a:avLst/>
                  <a:gdLst>
                    <a:gd name="connsiteX0" fmla="*/ 0 w 3099817"/>
                    <a:gd name="connsiteY0" fmla="*/ 509015 h 856487"/>
                    <a:gd name="connsiteX1" fmla="*/ 2113790 w 3099817"/>
                    <a:gd name="connsiteY1" fmla="*/ 0 h 856487"/>
                    <a:gd name="connsiteX2" fmla="*/ 3099818 w 3099817"/>
                    <a:gd name="connsiteY2" fmla="*/ 339849 h 856487"/>
                    <a:gd name="connsiteX3" fmla="*/ 923546 w 3099817"/>
                    <a:gd name="connsiteY3" fmla="*/ 856487 h 856487"/>
                  </a:gdLst>
                  <a:ahLst/>
                  <a:cxnLst>
                    <a:cxn ang="0">
                      <a:pos x="connsiteX0" y="connsiteY0"/>
                    </a:cxn>
                    <a:cxn ang="0">
                      <a:pos x="connsiteX1" y="connsiteY1"/>
                    </a:cxn>
                    <a:cxn ang="0">
                      <a:pos x="connsiteX2" y="connsiteY2"/>
                    </a:cxn>
                    <a:cxn ang="0">
                      <a:pos x="connsiteX3" y="connsiteY3"/>
                    </a:cxn>
                  </a:cxnLst>
                  <a:rect l="l" t="t" r="r" b="b"/>
                  <a:pathLst>
                    <a:path w="3099817" h="856487">
                      <a:moveTo>
                        <a:pt x="0" y="509015"/>
                      </a:moveTo>
                      <a:lnTo>
                        <a:pt x="2113790" y="0"/>
                      </a:lnTo>
                      <a:lnTo>
                        <a:pt x="3099818" y="339849"/>
                      </a:lnTo>
                      <a:lnTo>
                        <a:pt x="923546" y="856487"/>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2" name="Graphic 2">
                  <a:extLst>
                    <a:ext uri="{FF2B5EF4-FFF2-40B4-BE49-F238E27FC236}">
                      <a16:creationId xmlns:a16="http://schemas.microsoft.com/office/drawing/2014/main" id="{33A11139-22CE-45EA-A969-D669B007EF24}"/>
                    </a:ext>
                  </a:extLst>
                </p:cNvPr>
                <p:cNvSpPr/>
                <p:nvPr/>
              </p:nvSpPr>
              <p:spPr>
                <a:xfrm>
                  <a:off x="6227486" y="5607645"/>
                  <a:ext cx="133711" cy="25638"/>
                </a:xfrm>
                <a:custGeom>
                  <a:avLst/>
                  <a:gdLst>
                    <a:gd name="connsiteX0" fmla="*/ 0 w 3099817"/>
                    <a:gd name="connsiteY0" fmla="*/ 169166 h 594363"/>
                    <a:gd name="connsiteX1" fmla="*/ 0 w 3099817"/>
                    <a:gd name="connsiteY1" fmla="*/ 246892 h 594363"/>
                    <a:gd name="connsiteX2" fmla="*/ 923546 w 3099817"/>
                    <a:gd name="connsiteY2" fmla="*/ 594364 h 594363"/>
                    <a:gd name="connsiteX3" fmla="*/ 3099818 w 3099817"/>
                    <a:gd name="connsiteY3" fmla="*/ 77725 h 594363"/>
                    <a:gd name="connsiteX4" fmla="*/ 3099818 w 3099817"/>
                    <a:gd name="connsiteY4" fmla="*/ 0 h 594363"/>
                    <a:gd name="connsiteX5" fmla="*/ 923546 w 3099817"/>
                    <a:gd name="connsiteY5" fmla="*/ 516638 h 59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9817" h="594363">
                      <a:moveTo>
                        <a:pt x="0" y="169166"/>
                      </a:moveTo>
                      <a:lnTo>
                        <a:pt x="0" y="246892"/>
                      </a:lnTo>
                      <a:lnTo>
                        <a:pt x="923546" y="594364"/>
                      </a:lnTo>
                      <a:lnTo>
                        <a:pt x="3099818" y="77725"/>
                      </a:lnTo>
                      <a:lnTo>
                        <a:pt x="3099818" y="0"/>
                      </a:lnTo>
                      <a:lnTo>
                        <a:pt x="923546" y="516638"/>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3" name="Graphic 2">
                  <a:extLst>
                    <a:ext uri="{FF2B5EF4-FFF2-40B4-BE49-F238E27FC236}">
                      <a16:creationId xmlns:a16="http://schemas.microsoft.com/office/drawing/2014/main" id="{FEAA276D-3182-4F03-83EA-F212FA5FF67B}"/>
                    </a:ext>
                  </a:extLst>
                </p:cNvPr>
                <p:cNvSpPr/>
                <p:nvPr/>
              </p:nvSpPr>
              <p:spPr>
                <a:xfrm>
                  <a:off x="6273371" y="5578655"/>
                  <a:ext cx="47529" cy="37470"/>
                </a:xfrm>
                <a:custGeom>
                  <a:avLst/>
                  <a:gdLst>
                    <a:gd name="connsiteX0" fmla="*/ 0 w 1101851"/>
                    <a:gd name="connsiteY0" fmla="*/ 298703 h 868677"/>
                    <a:gd name="connsiteX1" fmla="*/ 0 w 1101851"/>
                    <a:gd name="connsiteY1" fmla="*/ 868677 h 868677"/>
                    <a:gd name="connsiteX2" fmla="*/ 1101851 w 1101851"/>
                    <a:gd name="connsiteY2" fmla="*/ 609600 h 868677"/>
                    <a:gd name="connsiteX3" fmla="*/ 1101851 w 1101851"/>
                    <a:gd name="connsiteY3" fmla="*/ 0 h 868677"/>
                  </a:gdLst>
                  <a:ahLst/>
                  <a:cxnLst>
                    <a:cxn ang="0">
                      <a:pos x="connsiteX0" y="connsiteY0"/>
                    </a:cxn>
                    <a:cxn ang="0">
                      <a:pos x="connsiteX1" y="connsiteY1"/>
                    </a:cxn>
                    <a:cxn ang="0">
                      <a:pos x="connsiteX2" y="connsiteY2"/>
                    </a:cxn>
                    <a:cxn ang="0">
                      <a:pos x="connsiteX3" y="connsiteY3"/>
                    </a:cxn>
                  </a:cxnLst>
                  <a:rect l="l" t="t" r="r" b="b"/>
                  <a:pathLst>
                    <a:path w="1101851" h="868677">
                      <a:moveTo>
                        <a:pt x="0" y="298703"/>
                      </a:moveTo>
                      <a:lnTo>
                        <a:pt x="0" y="868677"/>
                      </a:lnTo>
                      <a:lnTo>
                        <a:pt x="1101851" y="609600"/>
                      </a:lnTo>
                      <a:lnTo>
                        <a:pt x="1101851"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4" name="Graphic 2">
                  <a:extLst>
                    <a:ext uri="{FF2B5EF4-FFF2-40B4-BE49-F238E27FC236}">
                      <a16:creationId xmlns:a16="http://schemas.microsoft.com/office/drawing/2014/main" id="{CF8993CC-EFBF-41C8-84A9-571705A8C313}"/>
                    </a:ext>
                  </a:extLst>
                </p:cNvPr>
                <p:cNvSpPr/>
                <p:nvPr/>
              </p:nvSpPr>
              <p:spPr>
                <a:xfrm>
                  <a:off x="6258711" y="5588187"/>
                  <a:ext cx="14660" cy="27939"/>
                </a:xfrm>
                <a:custGeom>
                  <a:avLst/>
                  <a:gdLst>
                    <a:gd name="connsiteX0" fmla="*/ 4574 w 339853"/>
                    <a:gd name="connsiteY0" fmla="*/ 0 h 647700"/>
                    <a:gd name="connsiteX1" fmla="*/ 0 w 339853"/>
                    <a:gd name="connsiteY1" fmla="*/ 518159 h 647700"/>
                    <a:gd name="connsiteX2" fmla="*/ 339854 w 339853"/>
                    <a:gd name="connsiteY2" fmla="*/ 647700 h 647700"/>
                    <a:gd name="connsiteX3" fmla="*/ 339854 w 339853"/>
                    <a:gd name="connsiteY3" fmla="*/ 77725 h 647700"/>
                  </a:gdLst>
                  <a:ahLst/>
                  <a:cxnLst>
                    <a:cxn ang="0">
                      <a:pos x="connsiteX0" y="connsiteY0"/>
                    </a:cxn>
                    <a:cxn ang="0">
                      <a:pos x="connsiteX1" y="connsiteY1"/>
                    </a:cxn>
                    <a:cxn ang="0">
                      <a:pos x="connsiteX2" y="connsiteY2"/>
                    </a:cxn>
                    <a:cxn ang="0">
                      <a:pos x="connsiteX3" y="connsiteY3"/>
                    </a:cxn>
                  </a:cxnLst>
                  <a:rect l="l" t="t" r="r" b="b"/>
                  <a:pathLst>
                    <a:path w="339853" h="647700">
                      <a:moveTo>
                        <a:pt x="4574" y="0"/>
                      </a:moveTo>
                      <a:lnTo>
                        <a:pt x="0" y="518159"/>
                      </a:lnTo>
                      <a:lnTo>
                        <a:pt x="339854" y="647700"/>
                      </a:lnTo>
                      <a:lnTo>
                        <a:pt x="339854" y="7772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5" name="Graphic 2">
                  <a:extLst>
                    <a:ext uri="{FF2B5EF4-FFF2-40B4-BE49-F238E27FC236}">
                      <a16:creationId xmlns:a16="http://schemas.microsoft.com/office/drawing/2014/main" id="{C16B6A6E-AC2D-4133-B2A3-1205642C8090}"/>
                    </a:ext>
                  </a:extLst>
                </p:cNvPr>
                <p:cNvSpPr/>
                <p:nvPr/>
              </p:nvSpPr>
              <p:spPr>
                <a:xfrm>
                  <a:off x="6185676" y="5374605"/>
                  <a:ext cx="218185" cy="239154"/>
                </a:xfrm>
                <a:custGeom>
                  <a:avLst/>
                  <a:gdLst>
                    <a:gd name="connsiteX0" fmla="*/ 18290 w 5058156"/>
                    <a:gd name="connsiteY0" fmla="*/ 914400 h 5544312"/>
                    <a:gd name="connsiteX1" fmla="*/ 5058157 w 5058156"/>
                    <a:gd name="connsiteY1" fmla="*/ 0 h 5544312"/>
                    <a:gd name="connsiteX2" fmla="*/ 5055110 w 5058156"/>
                    <a:gd name="connsiteY2" fmla="*/ 4276344 h 5544312"/>
                    <a:gd name="connsiteX3" fmla="*/ 0 w 5058156"/>
                    <a:gd name="connsiteY3" fmla="*/ 5544313 h 5544312"/>
                  </a:gdLst>
                  <a:ahLst/>
                  <a:cxnLst>
                    <a:cxn ang="0">
                      <a:pos x="connsiteX0" y="connsiteY0"/>
                    </a:cxn>
                    <a:cxn ang="0">
                      <a:pos x="connsiteX1" y="connsiteY1"/>
                    </a:cxn>
                    <a:cxn ang="0">
                      <a:pos x="connsiteX2" y="connsiteY2"/>
                    </a:cxn>
                    <a:cxn ang="0">
                      <a:pos x="connsiteX3" y="connsiteY3"/>
                    </a:cxn>
                  </a:cxnLst>
                  <a:rect l="l" t="t" r="r" b="b"/>
                  <a:pathLst>
                    <a:path w="5058156" h="5544312">
                      <a:moveTo>
                        <a:pt x="18290" y="914400"/>
                      </a:moveTo>
                      <a:lnTo>
                        <a:pt x="5058157" y="0"/>
                      </a:lnTo>
                      <a:lnTo>
                        <a:pt x="5055110" y="4276344"/>
                      </a:lnTo>
                      <a:lnTo>
                        <a:pt x="0" y="5544313"/>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6" name="Graphic 2">
                  <a:extLst>
                    <a:ext uri="{FF2B5EF4-FFF2-40B4-BE49-F238E27FC236}">
                      <a16:creationId xmlns:a16="http://schemas.microsoft.com/office/drawing/2014/main" id="{AD643C6D-E028-4657-A4A6-44EB6DB69217}"/>
                    </a:ext>
                  </a:extLst>
                </p:cNvPr>
                <p:cNvSpPr/>
                <p:nvPr/>
              </p:nvSpPr>
              <p:spPr>
                <a:xfrm>
                  <a:off x="6199087" y="5388739"/>
                  <a:ext cx="191626" cy="209703"/>
                </a:xfrm>
                <a:custGeom>
                  <a:avLst/>
                  <a:gdLst>
                    <a:gd name="connsiteX0" fmla="*/ 16764 w 4442459"/>
                    <a:gd name="connsiteY0" fmla="*/ 801626 h 4861559"/>
                    <a:gd name="connsiteX1" fmla="*/ 4434841 w 4442459"/>
                    <a:gd name="connsiteY1" fmla="*/ 0 h 4861559"/>
                    <a:gd name="connsiteX2" fmla="*/ 4442459 w 4442459"/>
                    <a:gd name="connsiteY2" fmla="*/ 3790187 h 4861559"/>
                    <a:gd name="connsiteX3" fmla="*/ 0 w 4442459"/>
                    <a:gd name="connsiteY3" fmla="*/ 4861559 h 4861559"/>
                  </a:gdLst>
                  <a:ahLst/>
                  <a:cxnLst>
                    <a:cxn ang="0">
                      <a:pos x="connsiteX0" y="connsiteY0"/>
                    </a:cxn>
                    <a:cxn ang="0">
                      <a:pos x="connsiteX1" y="connsiteY1"/>
                    </a:cxn>
                    <a:cxn ang="0">
                      <a:pos x="connsiteX2" y="connsiteY2"/>
                    </a:cxn>
                    <a:cxn ang="0">
                      <a:pos x="connsiteX3" y="connsiteY3"/>
                    </a:cxn>
                  </a:cxnLst>
                  <a:rect l="l" t="t" r="r" b="b"/>
                  <a:pathLst>
                    <a:path w="4442459" h="4861559">
                      <a:moveTo>
                        <a:pt x="16764" y="801626"/>
                      </a:moveTo>
                      <a:lnTo>
                        <a:pt x="4434841" y="0"/>
                      </a:lnTo>
                      <a:lnTo>
                        <a:pt x="4442459" y="3790187"/>
                      </a:lnTo>
                      <a:lnTo>
                        <a:pt x="0" y="4861559"/>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7" name="Graphic 2">
                  <a:extLst>
                    <a:ext uri="{FF2B5EF4-FFF2-40B4-BE49-F238E27FC236}">
                      <a16:creationId xmlns:a16="http://schemas.microsoft.com/office/drawing/2014/main" id="{096D14CE-579D-4434-8A25-1AC53FDFACE6}"/>
                    </a:ext>
                  </a:extLst>
                </p:cNvPr>
                <p:cNvSpPr/>
                <p:nvPr/>
              </p:nvSpPr>
              <p:spPr>
                <a:xfrm>
                  <a:off x="6172200" y="5371253"/>
                  <a:ext cx="231661" cy="242506"/>
                </a:xfrm>
                <a:custGeom>
                  <a:avLst/>
                  <a:gdLst>
                    <a:gd name="connsiteX0" fmla="*/ 5370575 w 5370574"/>
                    <a:gd name="connsiteY0" fmla="*/ 77725 h 5622038"/>
                    <a:gd name="connsiteX1" fmla="*/ 5058157 w 5370574"/>
                    <a:gd name="connsiteY1" fmla="*/ 0 h 5622038"/>
                    <a:gd name="connsiteX2" fmla="*/ 19810 w 5370574"/>
                    <a:gd name="connsiteY2" fmla="*/ 914400 h 5622038"/>
                    <a:gd name="connsiteX3" fmla="*/ 0 w 5370574"/>
                    <a:gd name="connsiteY3" fmla="*/ 5492498 h 5622038"/>
                    <a:gd name="connsiteX4" fmla="*/ 312418 w 5370574"/>
                    <a:gd name="connsiteY4" fmla="*/ 5622038 h 5622038"/>
                    <a:gd name="connsiteX5" fmla="*/ 330708 w 5370574"/>
                    <a:gd name="connsiteY5" fmla="*/ 992126 h 56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0574" h="5622038">
                      <a:moveTo>
                        <a:pt x="5370575" y="77725"/>
                      </a:moveTo>
                      <a:lnTo>
                        <a:pt x="5058157" y="0"/>
                      </a:lnTo>
                      <a:lnTo>
                        <a:pt x="19810" y="914400"/>
                      </a:lnTo>
                      <a:lnTo>
                        <a:pt x="0" y="5492498"/>
                      </a:lnTo>
                      <a:lnTo>
                        <a:pt x="312418" y="5622038"/>
                      </a:lnTo>
                      <a:lnTo>
                        <a:pt x="330708" y="992126"/>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8" name="Graphic 2">
                  <a:extLst>
                    <a:ext uri="{FF2B5EF4-FFF2-40B4-BE49-F238E27FC236}">
                      <a16:creationId xmlns:a16="http://schemas.microsoft.com/office/drawing/2014/main" id="{84DCB9D4-6EE4-4C8D-88EE-AD0355AE4037}"/>
                    </a:ext>
                  </a:extLst>
                </p:cNvPr>
                <p:cNvSpPr/>
                <p:nvPr/>
              </p:nvSpPr>
              <p:spPr>
                <a:xfrm>
                  <a:off x="6457468" y="5553149"/>
                  <a:ext cx="63210" cy="26295"/>
                </a:xfrm>
                <a:custGeom>
                  <a:avLst/>
                  <a:gdLst>
                    <a:gd name="connsiteX0" fmla="*/ 808 w 1465390"/>
                    <a:gd name="connsiteY0" fmla="*/ 609600 h 609600"/>
                    <a:gd name="connsiteX1" fmla="*/ 227885 w 1465390"/>
                    <a:gd name="connsiteY1" fmla="*/ 298703 h 609600"/>
                    <a:gd name="connsiteX2" fmla="*/ 1465372 w 1465390"/>
                    <a:gd name="connsiteY2" fmla="*/ 0 h 609600"/>
                    <a:gd name="connsiteX3" fmla="*/ 1465372 w 1465390"/>
                    <a:gd name="connsiteY3" fmla="*/ 10664 h 609600"/>
                    <a:gd name="connsiteX4" fmla="*/ 1239821 w 1465390"/>
                    <a:gd name="connsiteY4" fmla="*/ 301749 h 609600"/>
                    <a:gd name="connsiteX5" fmla="*/ 808 w 1465390"/>
                    <a:gd name="connsiteY5" fmla="*/ 609600 h 609600"/>
                    <a:gd name="connsiteX6" fmla="*/ 808 w 1465390"/>
                    <a:gd name="connsiteY6" fmla="*/ 6096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5390" h="609600">
                      <a:moveTo>
                        <a:pt x="808" y="609600"/>
                      </a:moveTo>
                      <a:cubicBezTo>
                        <a:pt x="-9859" y="464818"/>
                        <a:pt x="86151" y="332231"/>
                        <a:pt x="227885" y="298703"/>
                      </a:cubicBezTo>
                      <a:lnTo>
                        <a:pt x="1465372" y="0"/>
                      </a:lnTo>
                      <a:lnTo>
                        <a:pt x="1465372" y="10664"/>
                      </a:lnTo>
                      <a:cubicBezTo>
                        <a:pt x="1466895" y="147828"/>
                        <a:pt x="1373931" y="269746"/>
                        <a:pt x="1239821" y="301749"/>
                      </a:cubicBezTo>
                      <a:lnTo>
                        <a:pt x="808" y="609600"/>
                      </a:lnTo>
                      <a:cubicBezTo>
                        <a:pt x="808" y="609600"/>
                        <a:pt x="808" y="609600"/>
                        <a:pt x="808" y="60960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79" name="Graphic 2">
                  <a:extLst>
                    <a:ext uri="{FF2B5EF4-FFF2-40B4-BE49-F238E27FC236}">
                      <a16:creationId xmlns:a16="http://schemas.microsoft.com/office/drawing/2014/main" id="{9C261B08-82D8-4277-A9D1-82923D19DCF7}"/>
                    </a:ext>
                  </a:extLst>
                </p:cNvPr>
                <p:cNvSpPr/>
                <p:nvPr/>
              </p:nvSpPr>
              <p:spPr>
                <a:xfrm>
                  <a:off x="6456123" y="5393472"/>
                  <a:ext cx="59624" cy="24389"/>
                </a:xfrm>
                <a:custGeom>
                  <a:avLst/>
                  <a:gdLst>
                    <a:gd name="connsiteX0" fmla="*/ 1382267 w 1382266"/>
                    <a:gd name="connsiteY0" fmla="*/ 237744 h 565402"/>
                    <a:gd name="connsiteX1" fmla="*/ 1382267 w 1382266"/>
                    <a:gd name="connsiteY1" fmla="*/ 0 h 565402"/>
                    <a:gd name="connsiteX2" fmla="*/ 0 w 1382266"/>
                    <a:gd name="connsiteY2" fmla="*/ 318515 h 565402"/>
                    <a:gd name="connsiteX3" fmla="*/ 0 w 1382266"/>
                    <a:gd name="connsiteY3" fmla="*/ 565403 h 565402"/>
                  </a:gdLst>
                  <a:ahLst/>
                  <a:cxnLst>
                    <a:cxn ang="0">
                      <a:pos x="connsiteX0" y="connsiteY0"/>
                    </a:cxn>
                    <a:cxn ang="0">
                      <a:pos x="connsiteX1" y="connsiteY1"/>
                    </a:cxn>
                    <a:cxn ang="0">
                      <a:pos x="connsiteX2" y="connsiteY2"/>
                    </a:cxn>
                    <a:cxn ang="0">
                      <a:pos x="connsiteX3" y="connsiteY3"/>
                    </a:cxn>
                  </a:cxnLst>
                  <a:rect l="l" t="t" r="r" b="b"/>
                  <a:pathLst>
                    <a:path w="1382266" h="565402">
                      <a:moveTo>
                        <a:pt x="1382267" y="237744"/>
                      </a:moveTo>
                      <a:lnTo>
                        <a:pt x="1382267" y="0"/>
                      </a:lnTo>
                      <a:lnTo>
                        <a:pt x="0" y="318515"/>
                      </a:lnTo>
                      <a:lnTo>
                        <a:pt x="0" y="565403"/>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0" name="Graphic 2">
                  <a:extLst>
                    <a:ext uri="{FF2B5EF4-FFF2-40B4-BE49-F238E27FC236}">
                      <a16:creationId xmlns:a16="http://schemas.microsoft.com/office/drawing/2014/main" id="{2D0A7E49-3244-4FAD-BAE8-BBEE6F5316E8}"/>
                    </a:ext>
                  </a:extLst>
                </p:cNvPr>
                <p:cNvSpPr/>
                <p:nvPr/>
              </p:nvSpPr>
              <p:spPr>
                <a:xfrm>
                  <a:off x="6456123" y="5428247"/>
                  <a:ext cx="59624" cy="24454"/>
                </a:xfrm>
                <a:custGeom>
                  <a:avLst/>
                  <a:gdLst>
                    <a:gd name="connsiteX0" fmla="*/ 0 w 1382266"/>
                    <a:gd name="connsiteY0" fmla="*/ 566928 h 566928"/>
                    <a:gd name="connsiteX1" fmla="*/ 1382267 w 1382266"/>
                    <a:gd name="connsiteY1" fmla="*/ 237744 h 566928"/>
                    <a:gd name="connsiteX2" fmla="*/ 1382267 w 1382266"/>
                    <a:gd name="connsiteY2" fmla="*/ 0 h 566928"/>
                    <a:gd name="connsiteX3" fmla="*/ 0 w 1382266"/>
                    <a:gd name="connsiteY3" fmla="*/ 318515 h 566928"/>
                  </a:gdLst>
                  <a:ahLst/>
                  <a:cxnLst>
                    <a:cxn ang="0">
                      <a:pos x="connsiteX0" y="connsiteY0"/>
                    </a:cxn>
                    <a:cxn ang="0">
                      <a:pos x="connsiteX1" y="connsiteY1"/>
                    </a:cxn>
                    <a:cxn ang="0">
                      <a:pos x="connsiteX2" y="connsiteY2"/>
                    </a:cxn>
                    <a:cxn ang="0">
                      <a:pos x="connsiteX3" y="connsiteY3"/>
                    </a:cxn>
                  </a:cxnLst>
                  <a:rect l="l" t="t" r="r" b="b"/>
                  <a:pathLst>
                    <a:path w="1382266" h="566928">
                      <a:moveTo>
                        <a:pt x="0" y="566928"/>
                      </a:moveTo>
                      <a:lnTo>
                        <a:pt x="1382267" y="237744"/>
                      </a:lnTo>
                      <a:lnTo>
                        <a:pt x="1382267" y="0"/>
                      </a:lnTo>
                      <a:lnTo>
                        <a:pt x="0" y="318515"/>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1" name="Graphic 2">
                  <a:extLst>
                    <a:ext uri="{FF2B5EF4-FFF2-40B4-BE49-F238E27FC236}">
                      <a16:creationId xmlns:a16="http://schemas.microsoft.com/office/drawing/2014/main" id="{26DC503A-27A7-4800-8792-150D055567A0}"/>
                    </a:ext>
                  </a:extLst>
                </p:cNvPr>
                <p:cNvSpPr/>
                <p:nvPr/>
              </p:nvSpPr>
              <p:spPr>
                <a:xfrm>
                  <a:off x="6453165" y="5446391"/>
                  <a:ext cx="66198" cy="115632"/>
                </a:xfrm>
                <a:custGeom>
                  <a:avLst/>
                  <a:gdLst>
                    <a:gd name="connsiteX0" fmla="*/ 1534669 w 1534669"/>
                    <a:gd name="connsiteY0" fmla="*/ 0 h 2680715"/>
                    <a:gd name="connsiteX1" fmla="*/ 0 w 1534669"/>
                    <a:gd name="connsiteY1" fmla="*/ 353569 h 2680715"/>
                    <a:gd name="connsiteX2" fmla="*/ 0 w 1534669"/>
                    <a:gd name="connsiteY2" fmla="*/ 2680716 h 2680715"/>
                    <a:gd name="connsiteX3" fmla="*/ 1534669 w 1534669"/>
                    <a:gd name="connsiteY3" fmla="*/ 2316482 h 2680715"/>
                  </a:gdLst>
                  <a:ahLst/>
                  <a:cxnLst>
                    <a:cxn ang="0">
                      <a:pos x="connsiteX0" y="connsiteY0"/>
                    </a:cxn>
                    <a:cxn ang="0">
                      <a:pos x="connsiteX1" y="connsiteY1"/>
                    </a:cxn>
                    <a:cxn ang="0">
                      <a:pos x="connsiteX2" y="connsiteY2"/>
                    </a:cxn>
                    <a:cxn ang="0">
                      <a:pos x="connsiteX3" y="connsiteY3"/>
                    </a:cxn>
                  </a:cxnLst>
                  <a:rect l="l" t="t" r="r" b="b"/>
                  <a:pathLst>
                    <a:path w="1534669" h="2680715">
                      <a:moveTo>
                        <a:pt x="1534669" y="0"/>
                      </a:moveTo>
                      <a:lnTo>
                        <a:pt x="0" y="353569"/>
                      </a:lnTo>
                      <a:lnTo>
                        <a:pt x="0" y="2680716"/>
                      </a:lnTo>
                      <a:lnTo>
                        <a:pt x="1534669" y="231648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82" name="Graphic 2">
                  <a:extLst>
                    <a:ext uri="{FF2B5EF4-FFF2-40B4-BE49-F238E27FC236}">
                      <a16:creationId xmlns:a16="http://schemas.microsoft.com/office/drawing/2014/main" id="{B0DDC2E5-7C0A-4E71-9611-5901D0948DCD}"/>
                    </a:ext>
                  </a:extLst>
                </p:cNvPr>
                <p:cNvSpPr/>
                <p:nvPr/>
              </p:nvSpPr>
              <p:spPr>
                <a:xfrm>
                  <a:off x="6456123" y="5456251"/>
                  <a:ext cx="59624" cy="24389"/>
                </a:xfrm>
                <a:custGeom>
                  <a:avLst/>
                  <a:gdLst>
                    <a:gd name="connsiteX0" fmla="*/ 0 w 1382266"/>
                    <a:gd name="connsiteY0" fmla="*/ 318515 h 565407"/>
                    <a:gd name="connsiteX1" fmla="*/ 0 w 1382266"/>
                    <a:gd name="connsiteY1" fmla="*/ 565407 h 565407"/>
                    <a:gd name="connsiteX2" fmla="*/ 1382267 w 1382266"/>
                    <a:gd name="connsiteY2" fmla="*/ 237744 h 565407"/>
                    <a:gd name="connsiteX3" fmla="*/ 1382267 w 1382266"/>
                    <a:gd name="connsiteY3" fmla="*/ 0 h 565407"/>
                  </a:gdLst>
                  <a:ahLst/>
                  <a:cxnLst>
                    <a:cxn ang="0">
                      <a:pos x="connsiteX0" y="connsiteY0"/>
                    </a:cxn>
                    <a:cxn ang="0">
                      <a:pos x="connsiteX1" y="connsiteY1"/>
                    </a:cxn>
                    <a:cxn ang="0">
                      <a:pos x="connsiteX2" y="connsiteY2"/>
                    </a:cxn>
                    <a:cxn ang="0">
                      <a:pos x="connsiteX3" y="connsiteY3"/>
                    </a:cxn>
                  </a:cxnLst>
                  <a:rect l="l" t="t" r="r" b="b"/>
                  <a:pathLst>
                    <a:path w="1382266" h="565407">
                      <a:moveTo>
                        <a:pt x="0" y="318515"/>
                      </a:moveTo>
                      <a:lnTo>
                        <a:pt x="0" y="565407"/>
                      </a:lnTo>
                      <a:lnTo>
                        <a:pt x="1382267" y="237744"/>
                      </a:lnTo>
                      <a:lnTo>
                        <a:pt x="1382267" y="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sp>
            <p:nvSpPr>
              <p:cNvPr id="755" name="Graphic 2">
                <a:extLst>
                  <a:ext uri="{FF2B5EF4-FFF2-40B4-BE49-F238E27FC236}">
                    <a16:creationId xmlns:a16="http://schemas.microsoft.com/office/drawing/2014/main" id="{BF799790-7966-4E3B-8BE6-BEEF97CC85B0}"/>
                  </a:ext>
                </a:extLst>
              </p:cNvPr>
              <p:cNvSpPr/>
              <p:nvPr/>
            </p:nvSpPr>
            <p:spPr>
              <a:xfrm>
                <a:off x="8791670" y="5948174"/>
                <a:ext cx="16997" cy="18414"/>
              </a:xfrm>
              <a:custGeom>
                <a:avLst/>
                <a:gdLst>
                  <a:gd name="connsiteX0" fmla="*/ 0 w 310892"/>
                  <a:gd name="connsiteY0" fmla="*/ 336803 h 336802"/>
                  <a:gd name="connsiteX1" fmla="*/ 310893 w 310892"/>
                  <a:gd name="connsiteY1" fmla="*/ 336803 h 336802"/>
                  <a:gd name="connsiteX2" fmla="*/ 310893 w 310892"/>
                  <a:gd name="connsiteY2" fmla="*/ 0 h 336802"/>
                </a:gdLst>
                <a:ahLst/>
                <a:cxnLst>
                  <a:cxn ang="0">
                    <a:pos x="connsiteX0" y="connsiteY0"/>
                  </a:cxn>
                  <a:cxn ang="0">
                    <a:pos x="connsiteX1" y="connsiteY1"/>
                  </a:cxn>
                  <a:cxn ang="0">
                    <a:pos x="connsiteX2" y="connsiteY2"/>
                  </a:cxn>
                </a:cxnLst>
                <a:rect l="l" t="t" r="r" b="b"/>
                <a:pathLst>
                  <a:path w="310892" h="336802">
                    <a:moveTo>
                      <a:pt x="0" y="336803"/>
                    </a:moveTo>
                    <a:lnTo>
                      <a:pt x="310893" y="336803"/>
                    </a:lnTo>
                    <a:lnTo>
                      <a:pt x="310893"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56" name="Graphic 2">
                <a:extLst>
                  <a:ext uri="{FF2B5EF4-FFF2-40B4-BE49-F238E27FC236}">
                    <a16:creationId xmlns:a16="http://schemas.microsoft.com/office/drawing/2014/main" id="{BC184471-1EA1-4AD3-B238-84D02A227CCD}"/>
                  </a:ext>
                </a:extLst>
              </p:cNvPr>
              <p:cNvSpPr/>
              <p:nvPr/>
            </p:nvSpPr>
            <p:spPr>
              <a:xfrm>
                <a:off x="8808667" y="5948174"/>
                <a:ext cx="509835" cy="274791"/>
              </a:xfrm>
              <a:custGeom>
                <a:avLst/>
                <a:gdLst>
                  <a:gd name="connsiteX0" fmla="*/ -1 w 9325356"/>
                  <a:gd name="connsiteY0" fmla="*/ 1 h 5026152"/>
                  <a:gd name="connsiteX1" fmla="*/ 9325355 w 9325356"/>
                  <a:gd name="connsiteY1" fmla="*/ 1 h 5026152"/>
                  <a:gd name="connsiteX2" fmla="*/ 9325355 w 9325356"/>
                  <a:gd name="connsiteY2" fmla="*/ 5026155 h 5026152"/>
                  <a:gd name="connsiteX3" fmla="*/ -1 w 9325356"/>
                  <a:gd name="connsiteY3" fmla="*/ 5026155 h 5026152"/>
                </a:gdLst>
                <a:ahLst/>
                <a:cxnLst>
                  <a:cxn ang="0">
                    <a:pos x="connsiteX0" y="connsiteY0"/>
                  </a:cxn>
                  <a:cxn ang="0">
                    <a:pos x="connsiteX1" y="connsiteY1"/>
                  </a:cxn>
                  <a:cxn ang="0">
                    <a:pos x="connsiteX2" y="connsiteY2"/>
                  </a:cxn>
                  <a:cxn ang="0">
                    <a:pos x="connsiteX3" y="connsiteY3"/>
                  </a:cxn>
                </a:cxnLst>
                <a:rect l="l" t="t" r="r" b="b"/>
                <a:pathLst>
                  <a:path w="9325356" h="5026152">
                    <a:moveTo>
                      <a:pt x="-1" y="1"/>
                    </a:moveTo>
                    <a:lnTo>
                      <a:pt x="9325355" y="1"/>
                    </a:lnTo>
                    <a:lnTo>
                      <a:pt x="9325355" y="5026155"/>
                    </a:lnTo>
                    <a:lnTo>
                      <a:pt x="-1" y="5026155"/>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57" name="Graphic 2">
                <a:extLst>
                  <a:ext uri="{FF2B5EF4-FFF2-40B4-BE49-F238E27FC236}">
                    <a16:creationId xmlns:a16="http://schemas.microsoft.com/office/drawing/2014/main" id="{539F6FC9-D79A-4844-825B-F8948906DB89}"/>
                  </a:ext>
                </a:extLst>
              </p:cNvPr>
              <p:cNvSpPr/>
              <p:nvPr/>
            </p:nvSpPr>
            <p:spPr>
              <a:xfrm>
                <a:off x="8794836" y="5677299"/>
                <a:ext cx="541414" cy="271958"/>
              </a:xfrm>
              <a:custGeom>
                <a:avLst/>
                <a:gdLst>
                  <a:gd name="connsiteX0" fmla="*/ 9902954 w 9902953"/>
                  <a:gd name="connsiteY0" fmla="*/ 4974338 h 4974338"/>
                  <a:gd name="connsiteX1" fmla="*/ 4916426 w 9902953"/>
                  <a:gd name="connsiteY1" fmla="*/ 0 h 4974338"/>
                  <a:gd name="connsiteX2" fmla="*/ 0 w 9902953"/>
                  <a:gd name="connsiteY2" fmla="*/ 4974338 h 4974338"/>
                </a:gdLst>
                <a:ahLst/>
                <a:cxnLst>
                  <a:cxn ang="0">
                    <a:pos x="connsiteX0" y="connsiteY0"/>
                  </a:cxn>
                  <a:cxn ang="0">
                    <a:pos x="connsiteX1" y="connsiteY1"/>
                  </a:cxn>
                  <a:cxn ang="0">
                    <a:pos x="connsiteX2" y="connsiteY2"/>
                  </a:cxn>
                </a:cxnLst>
                <a:rect l="l" t="t" r="r" b="b"/>
                <a:pathLst>
                  <a:path w="9902953" h="4974338">
                    <a:moveTo>
                      <a:pt x="9902954" y="4974338"/>
                    </a:moveTo>
                    <a:lnTo>
                      <a:pt x="4916426" y="0"/>
                    </a:lnTo>
                    <a:lnTo>
                      <a:pt x="0" y="4974338"/>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58" name="Graphic 2">
                <a:extLst>
                  <a:ext uri="{FF2B5EF4-FFF2-40B4-BE49-F238E27FC236}">
                    <a16:creationId xmlns:a16="http://schemas.microsoft.com/office/drawing/2014/main" id="{B7EFA171-A6B6-45B6-A695-E5037658A835}"/>
                  </a:ext>
                </a:extLst>
              </p:cNvPr>
              <p:cNvSpPr/>
              <p:nvPr/>
            </p:nvSpPr>
            <p:spPr>
              <a:xfrm>
                <a:off x="8770590" y="5646054"/>
                <a:ext cx="585990" cy="310202"/>
              </a:xfrm>
              <a:custGeom>
                <a:avLst/>
                <a:gdLst>
                  <a:gd name="connsiteX0" fmla="*/ 5359910 w 10718294"/>
                  <a:gd name="connsiteY0" fmla="*/ 545595 h 5673853"/>
                  <a:gd name="connsiteX1" fmla="*/ 10483597 w 10718294"/>
                  <a:gd name="connsiteY1" fmla="*/ 5669282 h 5673853"/>
                  <a:gd name="connsiteX2" fmla="*/ 10718295 w 10718294"/>
                  <a:gd name="connsiteY2" fmla="*/ 5358385 h 5673853"/>
                  <a:gd name="connsiteX3" fmla="*/ 5359910 w 10718294"/>
                  <a:gd name="connsiteY3" fmla="*/ 0 h 5673853"/>
                  <a:gd name="connsiteX4" fmla="*/ 0 w 10718294"/>
                  <a:gd name="connsiteY4" fmla="*/ 5361431 h 5673853"/>
                  <a:gd name="connsiteX5" fmla="*/ 237748 w 10718294"/>
                  <a:gd name="connsiteY5" fmla="*/ 5673854 h 5673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18294" h="5673853">
                    <a:moveTo>
                      <a:pt x="5359910" y="545595"/>
                    </a:moveTo>
                    <a:lnTo>
                      <a:pt x="10483597" y="5669282"/>
                    </a:lnTo>
                    <a:lnTo>
                      <a:pt x="10718295" y="5358385"/>
                    </a:lnTo>
                    <a:lnTo>
                      <a:pt x="5359910" y="0"/>
                    </a:lnTo>
                    <a:lnTo>
                      <a:pt x="0" y="5361431"/>
                    </a:lnTo>
                    <a:lnTo>
                      <a:pt x="237748" y="5673854"/>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59" name="Graphic 2">
                <a:extLst>
                  <a:ext uri="{FF2B5EF4-FFF2-40B4-BE49-F238E27FC236}">
                    <a16:creationId xmlns:a16="http://schemas.microsoft.com/office/drawing/2014/main" id="{34D4094B-9308-46D2-BEE6-25914BBDECBC}"/>
                  </a:ext>
                </a:extLst>
              </p:cNvPr>
              <p:cNvSpPr/>
              <p:nvPr/>
            </p:nvSpPr>
            <p:spPr>
              <a:xfrm>
                <a:off x="8783588" y="5676216"/>
                <a:ext cx="560244" cy="290455"/>
              </a:xfrm>
              <a:custGeom>
                <a:avLst/>
                <a:gdLst>
                  <a:gd name="connsiteX0" fmla="*/ 5122162 w 10247374"/>
                  <a:gd name="connsiteY0" fmla="*/ 0 h 5312666"/>
                  <a:gd name="connsiteX1" fmla="*/ 0 w 10247374"/>
                  <a:gd name="connsiteY1" fmla="*/ 5122167 h 5312666"/>
                  <a:gd name="connsiteX2" fmla="*/ 147828 w 10247374"/>
                  <a:gd name="connsiteY2" fmla="*/ 5311141 h 5312666"/>
                  <a:gd name="connsiteX3" fmla="*/ 5122162 w 10247374"/>
                  <a:gd name="connsiteY3" fmla="*/ 336807 h 5312666"/>
                  <a:gd name="connsiteX4" fmla="*/ 10096500 w 10247374"/>
                  <a:gd name="connsiteY4" fmla="*/ 5312667 h 5312666"/>
                  <a:gd name="connsiteX5" fmla="*/ 10247375 w 10247374"/>
                  <a:gd name="connsiteY5" fmla="*/ 5119116 h 531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47374" h="5312666">
                    <a:moveTo>
                      <a:pt x="5122162" y="0"/>
                    </a:moveTo>
                    <a:lnTo>
                      <a:pt x="0" y="5122167"/>
                    </a:lnTo>
                    <a:lnTo>
                      <a:pt x="147828" y="5311141"/>
                    </a:lnTo>
                    <a:lnTo>
                      <a:pt x="5122162" y="336807"/>
                    </a:lnTo>
                    <a:lnTo>
                      <a:pt x="10096500" y="5312667"/>
                    </a:lnTo>
                    <a:lnTo>
                      <a:pt x="10247375" y="5119116"/>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0" name="Graphic 2">
                <a:extLst>
                  <a:ext uri="{FF2B5EF4-FFF2-40B4-BE49-F238E27FC236}">
                    <a16:creationId xmlns:a16="http://schemas.microsoft.com/office/drawing/2014/main" id="{EBC2CF3C-E03E-4A6F-96C9-9EF30B48ABCF}"/>
                  </a:ext>
                </a:extLst>
              </p:cNvPr>
              <p:cNvSpPr/>
              <p:nvPr/>
            </p:nvSpPr>
            <p:spPr>
              <a:xfrm>
                <a:off x="9318253" y="5948174"/>
                <a:ext cx="16997" cy="18414"/>
              </a:xfrm>
              <a:custGeom>
                <a:avLst/>
                <a:gdLst>
                  <a:gd name="connsiteX0" fmla="*/ 310897 w 310897"/>
                  <a:gd name="connsiteY0" fmla="*/ 336803 h 336802"/>
                  <a:gd name="connsiteX1" fmla="*/ 0 w 310897"/>
                  <a:gd name="connsiteY1" fmla="*/ 336803 h 336802"/>
                  <a:gd name="connsiteX2" fmla="*/ 0 w 310897"/>
                  <a:gd name="connsiteY2" fmla="*/ 0 h 336802"/>
                </a:gdLst>
                <a:ahLst/>
                <a:cxnLst>
                  <a:cxn ang="0">
                    <a:pos x="connsiteX0" y="connsiteY0"/>
                  </a:cxn>
                  <a:cxn ang="0">
                    <a:pos x="connsiteX1" y="connsiteY1"/>
                  </a:cxn>
                  <a:cxn ang="0">
                    <a:pos x="connsiteX2" y="connsiteY2"/>
                  </a:cxn>
                </a:cxnLst>
                <a:rect l="l" t="t" r="r" b="b"/>
                <a:pathLst>
                  <a:path w="310897" h="336802">
                    <a:moveTo>
                      <a:pt x="310897" y="336803"/>
                    </a:moveTo>
                    <a:lnTo>
                      <a:pt x="0" y="336803"/>
                    </a:lnTo>
                    <a:lnTo>
                      <a:pt x="0"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1" name="Graphic 2">
                <a:extLst>
                  <a:ext uri="{FF2B5EF4-FFF2-40B4-BE49-F238E27FC236}">
                    <a16:creationId xmlns:a16="http://schemas.microsoft.com/office/drawing/2014/main" id="{B0B2868A-3A78-4E3E-A45D-0282151C576D}"/>
                  </a:ext>
                </a:extLst>
              </p:cNvPr>
              <p:cNvSpPr/>
              <p:nvPr/>
            </p:nvSpPr>
            <p:spPr>
              <a:xfrm>
                <a:off x="9010135" y="5785616"/>
                <a:ext cx="106900" cy="95235"/>
              </a:xfrm>
              <a:custGeom>
                <a:avLst/>
                <a:gdLst>
                  <a:gd name="connsiteX0" fmla="*/ -2 w 1955291"/>
                  <a:gd name="connsiteY0" fmla="*/ 0 h 1741932"/>
                  <a:gd name="connsiteX1" fmla="*/ 1955288 w 1955291"/>
                  <a:gd name="connsiteY1" fmla="*/ 0 h 1741932"/>
                  <a:gd name="connsiteX2" fmla="*/ 1955288 w 1955291"/>
                  <a:gd name="connsiteY2" fmla="*/ 1741931 h 1741932"/>
                  <a:gd name="connsiteX3" fmla="*/ -2 w 1955291"/>
                  <a:gd name="connsiteY3" fmla="*/ 1741931 h 1741932"/>
                </a:gdLst>
                <a:ahLst/>
                <a:cxnLst>
                  <a:cxn ang="0">
                    <a:pos x="connsiteX0" y="connsiteY0"/>
                  </a:cxn>
                  <a:cxn ang="0">
                    <a:pos x="connsiteX1" y="connsiteY1"/>
                  </a:cxn>
                  <a:cxn ang="0">
                    <a:pos x="connsiteX2" y="connsiteY2"/>
                  </a:cxn>
                  <a:cxn ang="0">
                    <a:pos x="connsiteX3" y="connsiteY3"/>
                  </a:cxn>
                </a:cxnLst>
                <a:rect l="l" t="t" r="r" b="b"/>
                <a:pathLst>
                  <a:path w="1955291" h="1741932">
                    <a:moveTo>
                      <a:pt x="-2" y="0"/>
                    </a:moveTo>
                    <a:lnTo>
                      <a:pt x="1955288" y="0"/>
                    </a:lnTo>
                    <a:lnTo>
                      <a:pt x="1955288" y="1741931"/>
                    </a:lnTo>
                    <a:lnTo>
                      <a:pt x="-2" y="1741931"/>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2" name="Graphic 2">
                <a:extLst>
                  <a:ext uri="{FF2B5EF4-FFF2-40B4-BE49-F238E27FC236}">
                    <a16:creationId xmlns:a16="http://schemas.microsoft.com/office/drawing/2014/main" id="{411AF4C0-9D10-4283-AF7A-B64C98D90695}"/>
                  </a:ext>
                </a:extLst>
              </p:cNvPr>
              <p:cNvSpPr/>
              <p:nvPr/>
            </p:nvSpPr>
            <p:spPr>
              <a:xfrm>
                <a:off x="9012718" y="5787699"/>
                <a:ext cx="49659" cy="95235"/>
              </a:xfrm>
              <a:custGeom>
                <a:avLst/>
                <a:gdLst>
                  <a:gd name="connsiteX0" fmla="*/ 2 w 908303"/>
                  <a:gd name="connsiteY0" fmla="*/ 0 h 1741932"/>
                  <a:gd name="connsiteX1" fmla="*/ 908305 w 908303"/>
                  <a:gd name="connsiteY1" fmla="*/ 0 h 1741932"/>
                  <a:gd name="connsiteX2" fmla="*/ 908305 w 908303"/>
                  <a:gd name="connsiteY2" fmla="*/ 1741931 h 1741932"/>
                  <a:gd name="connsiteX3" fmla="*/ 2 w 908303"/>
                  <a:gd name="connsiteY3" fmla="*/ 1741931 h 1741932"/>
                </a:gdLst>
                <a:ahLst/>
                <a:cxnLst>
                  <a:cxn ang="0">
                    <a:pos x="connsiteX0" y="connsiteY0"/>
                  </a:cxn>
                  <a:cxn ang="0">
                    <a:pos x="connsiteX1" y="connsiteY1"/>
                  </a:cxn>
                  <a:cxn ang="0">
                    <a:pos x="connsiteX2" y="connsiteY2"/>
                  </a:cxn>
                  <a:cxn ang="0">
                    <a:pos x="connsiteX3" y="connsiteY3"/>
                  </a:cxn>
                </a:cxnLst>
                <a:rect l="l" t="t" r="r" b="b"/>
                <a:pathLst>
                  <a:path w="908303" h="1741932">
                    <a:moveTo>
                      <a:pt x="2" y="0"/>
                    </a:moveTo>
                    <a:lnTo>
                      <a:pt x="908305" y="0"/>
                    </a:lnTo>
                    <a:lnTo>
                      <a:pt x="908305" y="1741931"/>
                    </a:lnTo>
                    <a:lnTo>
                      <a:pt x="2" y="1741931"/>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3" name="Graphic 2">
                <a:extLst>
                  <a:ext uri="{FF2B5EF4-FFF2-40B4-BE49-F238E27FC236}">
                    <a16:creationId xmlns:a16="http://schemas.microsoft.com/office/drawing/2014/main" id="{CFB9D9AE-1D92-4DB4-AE86-3E4FBB5EE790}"/>
                  </a:ext>
                </a:extLst>
              </p:cNvPr>
              <p:cNvSpPr/>
              <p:nvPr/>
            </p:nvSpPr>
            <p:spPr>
              <a:xfrm>
                <a:off x="9064793" y="5787699"/>
                <a:ext cx="49659" cy="95235"/>
              </a:xfrm>
              <a:custGeom>
                <a:avLst/>
                <a:gdLst>
                  <a:gd name="connsiteX0" fmla="*/ 2 w 908303"/>
                  <a:gd name="connsiteY0" fmla="*/ 0 h 1741932"/>
                  <a:gd name="connsiteX1" fmla="*/ 908305 w 908303"/>
                  <a:gd name="connsiteY1" fmla="*/ 0 h 1741932"/>
                  <a:gd name="connsiteX2" fmla="*/ 908305 w 908303"/>
                  <a:gd name="connsiteY2" fmla="*/ 1741931 h 1741932"/>
                  <a:gd name="connsiteX3" fmla="*/ 2 w 908303"/>
                  <a:gd name="connsiteY3" fmla="*/ 1741931 h 1741932"/>
                </a:gdLst>
                <a:ahLst/>
                <a:cxnLst>
                  <a:cxn ang="0">
                    <a:pos x="connsiteX0" y="connsiteY0"/>
                  </a:cxn>
                  <a:cxn ang="0">
                    <a:pos x="connsiteX1" y="connsiteY1"/>
                  </a:cxn>
                  <a:cxn ang="0">
                    <a:pos x="connsiteX2" y="connsiteY2"/>
                  </a:cxn>
                  <a:cxn ang="0">
                    <a:pos x="connsiteX3" y="connsiteY3"/>
                  </a:cxn>
                </a:cxnLst>
                <a:rect l="l" t="t" r="r" b="b"/>
                <a:pathLst>
                  <a:path w="908303" h="1741932">
                    <a:moveTo>
                      <a:pt x="2" y="0"/>
                    </a:moveTo>
                    <a:lnTo>
                      <a:pt x="908305" y="0"/>
                    </a:lnTo>
                    <a:lnTo>
                      <a:pt x="908305" y="1741931"/>
                    </a:lnTo>
                    <a:lnTo>
                      <a:pt x="2" y="1741931"/>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4" name="Graphic 2">
                <a:extLst>
                  <a:ext uri="{FF2B5EF4-FFF2-40B4-BE49-F238E27FC236}">
                    <a16:creationId xmlns:a16="http://schemas.microsoft.com/office/drawing/2014/main" id="{D79643EA-594C-4053-88BC-294E37414F3F}"/>
                  </a:ext>
                </a:extLst>
              </p:cNvPr>
              <p:cNvSpPr/>
              <p:nvPr/>
            </p:nvSpPr>
            <p:spPr>
              <a:xfrm>
                <a:off x="9005053" y="5878101"/>
                <a:ext cx="116981" cy="20747"/>
              </a:xfrm>
              <a:custGeom>
                <a:avLst/>
                <a:gdLst>
                  <a:gd name="connsiteX0" fmla="*/ 0 w 2139696"/>
                  <a:gd name="connsiteY0" fmla="*/ 1 h 379476"/>
                  <a:gd name="connsiteX1" fmla="*/ 2139697 w 2139696"/>
                  <a:gd name="connsiteY1" fmla="*/ 1 h 379476"/>
                  <a:gd name="connsiteX2" fmla="*/ 2139697 w 2139696"/>
                  <a:gd name="connsiteY2" fmla="*/ 379475 h 379476"/>
                  <a:gd name="connsiteX3" fmla="*/ 0 w 2139696"/>
                  <a:gd name="connsiteY3" fmla="*/ 379475 h 379476"/>
                </a:gdLst>
                <a:ahLst/>
                <a:cxnLst>
                  <a:cxn ang="0">
                    <a:pos x="connsiteX0" y="connsiteY0"/>
                  </a:cxn>
                  <a:cxn ang="0">
                    <a:pos x="connsiteX1" y="connsiteY1"/>
                  </a:cxn>
                  <a:cxn ang="0">
                    <a:pos x="connsiteX2" y="connsiteY2"/>
                  </a:cxn>
                  <a:cxn ang="0">
                    <a:pos x="connsiteX3" y="connsiteY3"/>
                  </a:cxn>
                </a:cxnLst>
                <a:rect l="l" t="t" r="r" b="b"/>
                <a:pathLst>
                  <a:path w="2139696" h="379476">
                    <a:moveTo>
                      <a:pt x="0" y="1"/>
                    </a:moveTo>
                    <a:lnTo>
                      <a:pt x="2139697" y="1"/>
                    </a:lnTo>
                    <a:lnTo>
                      <a:pt x="2139697" y="379475"/>
                    </a:lnTo>
                    <a:lnTo>
                      <a:pt x="0" y="379475"/>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5" name="Graphic 2">
                <a:extLst>
                  <a:ext uri="{FF2B5EF4-FFF2-40B4-BE49-F238E27FC236}">
                    <a16:creationId xmlns:a16="http://schemas.microsoft.com/office/drawing/2014/main" id="{E37DA1B4-5CB6-42E5-88D7-AEFE098B6A40}"/>
                  </a:ext>
                </a:extLst>
              </p:cNvPr>
              <p:cNvSpPr/>
              <p:nvPr/>
            </p:nvSpPr>
            <p:spPr>
              <a:xfrm>
                <a:off x="8846328" y="5988918"/>
                <a:ext cx="106900" cy="125231"/>
              </a:xfrm>
              <a:custGeom>
                <a:avLst/>
                <a:gdLst>
                  <a:gd name="connsiteX0" fmla="*/ 2 w 1955291"/>
                  <a:gd name="connsiteY0" fmla="*/ -1 h 2290571"/>
                  <a:gd name="connsiteX1" fmla="*/ 1955292 w 1955291"/>
                  <a:gd name="connsiteY1" fmla="*/ -1 h 2290571"/>
                  <a:gd name="connsiteX2" fmla="*/ 1955292 w 1955291"/>
                  <a:gd name="connsiteY2" fmla="*/ 2290571 h 2290571"/>
                  <a:gd name="connsiteX3" fmla="*/ 2 w 1955291"/>
                  <a:gd name="connsiteY3" fmla="*/ 2290571 h 2290571"/>
                </a:gdLst>
                <a:ahLst/>
                <a:cxnLst>
                  <a:cxn ang="0">
                    <a:pos x="connsiteX0" y="connsiteY0"/>
                  </a:cxn>
                  <a:cxn ang="0">
                    <a:pos x="connsiteX1" y="connsiteY1"/>
                  </a:cxn>
                  <a:cxn ang="0">
                    <a:pos x="connsiteX2" y="connsiteY2"/>
                  </a:cxn>
                  <a:cxn ang="0">
                    <a:pos x="connsiteX3" y="connsiteY3"/>
                  </a:cxn>
                </a:cxnLst>
                <a:rect l="l" t="t" r="r" b="b"/>
                <a:pathLst>
                  <a:path w="1955291" h="2290571">
                    <a:moveTo>
                      <a:pt x="2" y="-1"/>
                    </a:moveTo>
                    <a:lnTo>
                      <a:pt x="1955292" y="-1"/>
                    </a:lnTo>
                    <a:lnTo>
                      <a:pt x="1955292" y="2290571"/>
                    </a:lnTo>
                    <a:lnTo>
                      <a:pt x="2" y="2290571"/>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6" name="Graphic 2">
                <a:extLst>
                  <a:ext uri="{FF2B5EF4-FFF2-40B4-BE49-F238E27FC236}">
                    <a16:creationId xmlns:a16="http://schemas.microsoft.com/office/drawing/2014/main" id="{93D85FFE-7D19-4BD1-A69D-92E44CB93589}"/>
                  </a:ext>
                </a:extLst>
              </p:cNvPr>
              <p:cNvSpPr/>
              <p:nvPr/>
            </p:nvSpPr>
            <p:spPr>
              <a:xfrm>
                <a:off x="8848911" y="5991750"/>
                <a:ext cx="49659" cy="125231"/>
              </a:xfrm>
              <a:custGeom>
                <a:avLst/>
                <a:gdLst>
                  <a:gd name="connsiteX0" fmla="*/ 1 w 908303"/>
                  <a:gd name="connsiteY0" fmla="*/ -2 h 2290571"/>
                  <a:gd name="connsiteX1" fmla="*/ 908304 w 908303"/>
                  <a:gd name="connsiteY1" fmla="*/ -2 h 2290571"/>
                  <a:gd name="connsiteX2" fmla="*/ 908304 w 908303"/>
                  <a:gd name="connsiteY2" fmla="*/ 2290570 h 2290571"/>
                  <a:gd name="connsiteX3" fmla="*/ 1 w 908303"/>
                  <a:gd name="connsiteY3" fmla="*/ 2290570 h 2290571"/>
                </a:gdLst>
                <a:ahLst/>
                <a:cxnLst>
                  <a:cxn ang="0">
                    <a:pos x="connsiteX0" y="connsiteY0"/>
                  </a:cxn>
                  <a:cxn ang="0">
                    <a:pos x="connsiteX1" y="connsiteY1"/>
                  </a:cxn>
                  <a:cxn ang="0">
                    <a:pos x="connsiteX2" y="connsiteY2"/>
                  </a:cxn>
                  <a:cxn ang="0">
                    <a:pos x="connsiteX3" y="connsiteY3"/>
                  </a:cxn>
                </a:cxnLst>
                <a:rect l="l" t="t" r="r" b="b"/>
                <a:pathLst>
                  <a:path w="908303" h="2290571">
                    <a:moveTo>
                      <a:pt x="1" y="-2"/>
                    </a:moveTo>
                    <a:lnTo>
                      <a:pt x="908304" y="-2"/>
                    </a:lnTo>
                    <a:lnTo>
                      <a:pt x="908304" y="2290570"/>
                    </a:lnTo>
                    <a:lnTo>
                      <a:pt x="1" y="229057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7" name="Graphic 2">
                <a:extLst>
                  <a:ext uri="{FF2B5EF4-FFF2-40B4-BE49-F238E27FC236}">
                    <a16:creationId xmlns:a16="http://schemas.microsoft.com/office/drawing/2014/main" id="{6F2FDC27-C75D-49C8-A647-C7C348D406D4}"/>
                  </a:ext>
                </a:extLst>
              </p:cNvPr>
              <p:cNvSpPr/>
              <p:nvPr/>
            </p:nvSpPr>
            <p:spPr>
              <a:xfrm>
                <a:off x="8900986" y="5991750"/>
                <a:ext cx="49659" cy="125231"/>
              </a:xfrm>
              <a:custGeom>
                <a:avLst/>
                <a:gdLst>
                  <a:gd name="connsiteX0" fmla="*/ 1 w 908303"/>
                  <a:gd name="connsiteY0" fmla="*/ -2 h 2290571"/>
                  <a:gd name="connsiteX1" fmla="*/ 908304 w 908303"/>
                  <a:gd name="connsiteY1" fmla="*/ -2 h 2290571"/>
                  <a:gd name="connsiteX2" fmla="*/ 908304 w 908303"/>
                  <a:gd name="connsiteY2" fmla="*/ 2290570 h 2290571"/>
                  <a:gd name="connsiteX3" fmla="*/ 1 w 908303"/>
                  <a:gd name="connsiteY3" fmla="*/ 2290570 h 2290571"/>
                </a:gdLst>
                <a:ahLst/>
                <a:cxnLst>
                  <a:cxn ang="0">
                    <a:pos x="connsiteX0" y="connsiteY0"/>
                  </a:cxn>
                  <a:cxn ang="0">
                    <a:pos x="connsiteX1" y="connsiteY1"/>
                  </a:cxn>
                  <a:cxn ang="0">
                    <a:pos x="connsiteX2" y="connsiteY2"/>
                  </a:cxn>
                  <a:cxn ang="0">
                    <a:pos x="connsiteX3" y="connsiteY3"/>
                  </a:cxn>
                </a:cxnLst>
                <a:rect l="l" t="t" r="r" b="b"/>
                <a:pathLst>
                  <a:path w="908303" h="2290571">
                    <a:moveTo>
                      <a:pt x="1" y="-2"/>
                    </a:moveTo>
                    <a:lnTo>
                      <a:pt x="908304" y="-2"/>
                    </a:lnTo>
                    <a:lnTo>
                      <a:pt x="908304" y="2290570"/>
                    </a:lnTo>
                    <a:lnTo>
                      <a:pt x="1" y="229057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8" name="Graphic 2">
                <a:extLst>
                  <a:ext uri="{FF2B5EF4-FFF2-40B4-BE49-F238E27FC236}">
                    <a16:creationId xmlns:a16="http://schemas.microsoft.com/office/drawing/2014/main" id="{60B0DF7F-A027-4DF7-B24F-712C3A8B0557}"/>
                  </a:ext>
                </a:extLst>
              </p:cNvPr>
              <p:cNvSpPr/>
              <p:nvPr/>
            </p:nvSpPr>
            <p:spPr>
              <a:xfrm>
                <a:off x="8841246" y="6112148"/>
                <a:ext cx="116981" cy="20747"/>
              </a:xfrm>
              <a:custGeom>
                <a:avLst/>
                <a:gdLst>
                  <a:gd name="connsiteX0" fmla="*/ -1 w 2139696"/>
                  <a:gd name="connsiteY0" fmla="*/ 0 h 379476"/>
                  <a:gd name="connsiteX1" fmla="*/ 2139697 w 2139696"/>
                  <a:gd name="connsiteY1" fmla="*/ 0 h 379476"/>
                  <a:gd name="connsiteX2" fmla="*/ 2139697 w 2139696"/>
                  <a:gd name="connsiteY2" fmla="*/ 379475 h 379476"/>
                  <a:gd name="connsiteX3" fmla="*/ -1 w 2139696"/>
                  <a:gd name="connsiteY3" fmla="*/ 379475 h 379476"/>
                </a:gdLst>
                <a:ahLst/>
                <a:cxnLst>
                  <a:cxn ang="0">
                    <a:pos x="connsiteX0" y="connsiteY0"/>
                  </a:cxn>
                  <a:cxn ang="0">
                    <a:pos x="connsiteX1" y="connsiteY1"/>
                  </a:cxn>
                  <a:cxn ang="0">
                    <a:pos x="connsiteX2" y="connsiteY2"/>
                  </a:cxn>
                  <a:cxn ang="0">
                    <a:pos x="connsiteX3" y="connsiteY3"/>
                  </a:cxn>
                </a:cxnLst>
                <a:rect l="l" t="t" r="r" b="b"/>
                <a:pathLst>
                  <a:path w="2139696" h="379476">
                    <a:moveTo>
                      <a:pt x="-1" y="0"/>
                    </a:moveTo>
                    <a:lnTo>
                      <a:pt x="2139697" y="0"/>
                    </a:lnTo>
                    <a:lnTo>
                      <a:pt x="2139697" y="379475"/>
                    </a:lnTo>
                    <a:lnTo>
                      <a:pt x="-1" y="37947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69" name="Graphic 2">
                <a:extLst>
                  <a:ext uri="{FF2B5EF4-FFF2-40B4-BE49-F238E27FC236}">
                    <a16:creationId xmlns:a16="http://schemas.microsoft.com/office/drawing/2014/main" id="{869F6A10-DD88-4560-B5D8-09CBB455E14E}"/>
                  </a:ext>
                </a:extLst>
              </p:cNvPr>
              <p:cNvSpPr/>
              <p:nvPr/>
            </p:nvSpPr>
            <p:spPr>
              <a:xfrm>
                <a:off x="9173943" y="5988918"/>
                <a:ext cx="106900" cy="125231"/>
              </a:xfrm>
              <a:custGeom>
                <a:avLst/>
                <a:gdLst>
                  <a:gd name="connsiteX0" fmla="*/ -2 w 1955291"/>
                  <a:gd name="connsiteY0" fmla="*/ -1 h 2290571"/>
                  <a:gd name="connsiteX1" fmla="*/ 1955288 w 1955291"/>
                  <a:gd name="connsiteY1" fmla="*/ -1 h 2290571"/>
                  <a:gd name="connsiteX2" fmla="*/ 1955288 w 1955291"/>
                  <a:gd name="connsiteY2" fmla="*/ 2290571 h 2290571"/>
                  <a:gd name="connsiteX3" fmla="*/ -2 w 1955291"/>
                  <a:gd name="connsiteY3" fmla="*/ 2290571 h 2290571"/>
                </a:gdLst>
                <a:ahLst/>
                <a:cxnLst>
                  <a:cxn ang="0">
                    <a:pos x="connsiteX0" y="connsiteY0"/>
                  </a:cxn>
                  <a:cxn ang="0">
                    <a:pos x="connsiteX1" y="connsiteY1"/>
                  </a:cxn>
                  <a:cxn ang="0">
                    <a:pos x="connsiteX2" y="connsiteY2"/>
                  </a:cxn>
                  <a:cxn ang="0">
                    <a:pos x="connsiteX3" y="connsiteY3"/>
                  </a:cxn>
                </a:cxnLst>
                <a:rect l="l" t="t" r="r" b="b"/>
                <a:pathLst>
                  <a:path w="1955291" h="2290571">
                    <a:moveTo>
                      <a:pt x="-2" y="-1"/>
                    </a:moveTo>
                    <a:lnTo>
                      <a:pt x="1955288" y="-1"/>
                    </a:lnTo>
                    <a:lnTo>
                      <a:pt x="1955288" y="2290571"/>
                    </a:lnTo>
                    <a:lnTo>
                      <a:pt x="-2" y="2290571"/>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0" name="Graphic 2">
                <a:extLst>
                  <a:ext uri="{FF2B5EF4-FFF2-40B4-BE49-F238E27FC236}">
                    <a16:creationId xmlns:a16="http://schemas.microsoft.com/office/drawing/2014/main" id="{49DDF8AA-6710-4912-8089-A8A8D78A2FA1}"/>
                  </a:ext>
                </a:extLst>
              </p:cNvPr>
              <p:cNvSpPr/>
              <p:nvPr/>
            </p:nvSpPr>
            <p:spPr>
              <a:xfrm>
                <a:off x="9176525" y="5991750"/>
                <a:ext cx="49659" cy="125231"/>
              </a:xfrm>
              <a:custGeom>
                <a:avLst/>
                <a:gdLst>
                  <a:gd name="connsiteX0" fmla="*/ -2 w 908303"/>
                  <a:gd name="connsiteY0" fmla="*/ -2 h 2290571"/>
                  <a:gd name="connsiteX1" fmla="*/ 908301 w 908303"/>
                  <a:gd name="connsiteY1" fmla="*/ -2 h 2290571"/>
                  <a:gd name="connsiteX2" fmla="*/ 908301 w 908303"/>
                  <a:gd name="connsiteY2" fmla="*/ 2290570 h 2290571"/>
                  <a:gd name="connsiteX3" fmla="*/ -2 w 908303"/>
                  <a:gd name="connsiteY3" fmla="*/ 2290570 h 2290571"/>
                </a:gdLst>
                <a:ahLst/>
                <a:cxnLst>
                  <a:cxn ang="0">
                    <a:pos x="connsiteX0" y="connsiteY0"/>
                  </a:cxn>
                  <a:cxn ang="0">
                    <a:pos x="connsiteX1" y="connsiteY1"/>
                  </a:cxn>
                  <a:cxn ang="0">
                    <a:pos x="connsiteX2" y="connsiteY2"/>
                  </a:cxn>
                  <a:cxn ang="0">
                    <a:pos x="connsiteX3" y="connsiteY3"/>
                  </a:cxn>
                </a:cxnLst>
                <a:rect l="l" t="t" r="r" b="b"/>
                <a:pathLst>
                  <a:path w="908303" h="2290571">
                    <a:moveTo>
                      <a:pt x="-2" y="-2"/>
                    </a:moveTo>
                    <a:lnTo>
                      <a:pt x="908301" y="-2"/>
                    </a:lnTo>
                    <a:lnTo>
                      <a:pt x="908301" y="2290570"/>
                    </a:lnTo>
                    <a:lnTo>
                      <a:pt x="-2" y="229057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1" name="Graphic 2">
                <a:extLst>
                  <a:ext uri="{FF2B5EF4-FFF2-40B4-BE49-F238E27FC236}">
                    <a16:creationId xmlns:a16="http://schemas.microsoft.com/office/drawing/2014/main" id="{BC9916C2-1FE5-474D-B41D-13B974D7BB53}"/>
                  </a:ext>
                </a:extLst>
              </p:cNvPr>
              <p:cNvSpPr/>
              <p:nvPr/>
            </p:nvSpPr>
            <p:spPr>
              <a:xfrm>
                <a:off x="9228600" y="5991750"/>
                <a:ext cx="49659" cy="125231"/>
              </a:xfrm>
              <a:custGeom>
                <a:avLst/>
                <a:gdLst>
                  <a:gd name="connsiteX0" fmla="*/ -2 w 908303"/>
                  <a:gd name="connsiteY0" fmla="*/ -2 h 2290571"/>
                  <a:gd name="connsiteX1" fmla="*/ 908301 w 908303"/>
                  <a:gd name="connsiteY1" fmla="*/ -2 h 2290571"/>
                  <a:gd name="connsiteX2" fmla="*/ 908301 w 908303"/>
                  <a:gd name="connsiteY2" fmla="*/ 2290570 h 2290571"/>
                  <a:gd name="connsiteX3" fmla="*/ -2 w 908303"/>
                  <a:gd name="connsiteY3" fmla="*/ 2290570 h 2290571"/>
                </a:gdLst>
                <a:ahLst/>
                <a:cxnLst>
                  <a:cxn ang="0">
                    <a:pos x="connsiteX0" y="connsiteY0"/>
                  </a:cxn>
                  <a:cxn ang="0">
                    <a:pos x="connsiteX1" y="connsiteY1"/>
                  </a:cxn>
                  <a:cxn ang="0">
                    <a:pos x="connsiteX2" y="connsiteY2"/>
                  </a:cxn>
                  <a:cxn ang="0">
                    <a:pos x="connsiteX3" y="connsiteY3"/>
                  </a:cxn>
                </a:cxnLst>
                <a:rect l="l" t="t" r="r" b="b"/>
                <a:pathLst>
                  <a:path w="908303" h="2290571">
                    <a:moveTo>
                      <a:pt x="-2" y="-2"/>
                    </a:moveTo>
                    <a:lnTo>
                      <a:pt x="908301" y="-2"/>
                    </a:lnTo>
                    <a:lnTo>
                      <a:pt x="908301" y="2290570"/>
                    </a:lnTo>
                    <a:lnTo>
                      <a:pt x="-2" y="229057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2" name="Graphic 2">
                <a:extLst>
                  <a:ext uri="{FF2B5EF4-FFF2-40B4-BE49-F238E27FC236}">
                    <a16:creationId xmlns:a16="http://schemas.microsoft.com/office/drawing/2014/main" id="{9C3AE265-C1FC-466C-A8E8-27A8ECD7B574}"/>
                  </a:ext>
                </a:extLst>
              </p:cNvPr>
              <p:cNvSpPr/>
              <p:nvPr/>
            </p:nvSpPr>
            <p:spPr>
              <a:xfrm>
                <a:off x="9168860" y="6112148"/>
                <a:ext cx="116981" cy="20747"/>
              </a:xfrm>
              <a:custGeom>
                <a:avLst/>
                <a:gdLst>
                  <a:gd name="connsiteX0" fmla="*/ 1 w 2139696"/>
                  <a:gd name="connsiteY0" fmla="*/ 0 h 379476"/>
                  <a:gd name="connsiteX1" fmla="*/ 2139698 w 2139696"/>
                  <a:gd name="connsiteY1" fmla="*/ 0 h 379476"/>
                  <a:gd name="connsiteX2" fmla="*/ 2139698 w 2139696"/>
                  <a:gd name="connsiteY2" fmla="*/ 379475 h 379476"/>
                  <a:gd name="connsiteX3" fmla="*/ 1 w 2139696"/>
                  <a:gd name="connsiteY3" fmla="*/ 379475 h 379476"/>
                </a:gdLst>
                <a:ahLst/>
                <a:cxnLst>
                  <a:cxn ang="0">
                    <a:pos x="connsiteX0" y="connsiteY0"/>
                  </a:cxn>
                  <a:cxn ang="0">
                    <a:pos x="connsiteX1" y="connsiteY1"/>
                  </a:cxn>
                  <a:cxn ang="0">
                    <a:pos x="connsiteX2" y="connsiteY2"/>
                  </a:cxn>
                  <a:cxn ang="0">
                    <a:pos x="connsiteX3" y="connsiteY3"/>
                  </a:cxn>
                </a:cxnLst>
                <a:rect l="l" t="t" r="r" b="b"/>
                <a:pathLst>
                  <a:path w="2139696" h="379476">
                    <a:moveTo>
                      <a:pt x="1" y="0"/>
                    </a:moveTo>
                    <a:lnTo>
                      <a:pt x="2139698" y="0"/>
                    </a:lnTo>
                    <a:lnTo>
                      <a:pt x="2139698" y="379475"/>
                    </a:lnTo>
                    <a:lnTo>
                      <a:pt x="1" y="37947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3" name="Graphic 2">
                <a:extLst>
                  <a:ext uri="{FF2B5EF4-FFF2-40B4-BE49-F238E27FC236}">
                    <a16:creationId xmlns:a16="http://schemas.microsoft.com/office/drawing/2014/main" id="{CBEDE7D4-A416-4E54-9AB3-A57210AA0D32}"/>
                  </a:ext>
                </a:extLst>
              </p:cNvPr>
              <p:cNvSpPr/>
              <p:nvPr/>
            </p:nvSpPr>
            <p:spPr>
              <a:xfrm>
                <a:off x="8988139" y="5985918"/>
                <a:ext cx="150809" cy="237046"/>
              </a:xfrm>
              <a:custGeom>
                <a:avLst/>
                <a:gdLst>
                  <a:gd name="connsiteX0" fmla="*/ 0 w 2758440"/>
                  <a:gd name="connsiteY0" fmla="*/ 1 h 4335779"/>
                  <a:gd name="connsiteX1" fmla="*/ 2758441 w 2758440"/>
                  <a:gd name="connsiteY1" fmla="*/ 1 h 4335779"/>
                  <a:gd name="connsiteX2" fmla="*/ 2758441 w 2758440"/>
                  <a:gd name="connsiteY2" fmla="*/ 4335783 h 4335779"/>
                  <a:gd name="connsiteX3" fmla="*/ 0 w 2758440"/>
                  <a:gd name="connsiteY3" fmla="*/ 4335783 h 4335779"/>
                </a:gdLst>
                <a:ahLst/>
                <a:cxnLst>
                  <a:cxn ang="0">
                    <a:pos x="connsiteX0" y="connsiteY0"/>
                  </a:cxn>
                  <a:cxn ang="0">
                    <a:pos x="connsiteX1" y="connsiteY1"/>
                  </a:cxn>
                  <a:cxn ang="0">
                    <a:pos x="connsiteX2" y="connsiteY2"/>
                  </a:cxn>
                  <a:cxn ang="0">
                    <a:pos x="connsiteX3" y="connsiteY3"/>
                  </a:cxn>
                </a:cxnLst>
                <a:rect l="l" t="t" r="r" b="b"/>
                <a:pathLst>
                  <a:path w="2758440" h="4335779">
                    <a:moveTo>
                      <a:pt x="0" y="1"/>
                    </a:moveTo>
                    <a:lnTo>
                      <a:pt x="2758441" y="1"/>
                    </a:lnTo>
                    <a:lnTo>
                      <a:pt x="2758441" y="4335783"/>
                    </a:lnTo>
                    <a:lnTo>
                      <a:pt x="0" y="4335783"/>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4" name="Graphic 2">
                <a:extLst>
                  <a:ext uri="{FF2B5EF4-FFF2-40B4-BE49-F238E27FC236}">
                    <a16:creationId xmlns:a16="http://schemas.microsoft.com/office/drawing/2014/main" id="{260D9071-D728-47C6-A35D-663A80EAA271}"/>
                  </a:ext>
                </a:extLst>
              </p:cNvPr>
              <p:cNvSpPr/>
              <p:nvPr/>
            </p:nvSpPr>
            <p:spPr>
              <a:xfrm>
                <a:off x="8998304" y="5997083"/>
                <a:ext cx="130479" cy="225882"/>
              </a:xfrm>
              <a:custGeom>
                <a:avLst/>
                <a:gdLst>
                  <a:gd name="connsiteX0" fmla="*/ 0 w 2386584"/>
                  <a:gd name="connsiteY0" fmla="*/ 0 h 4131564"/>
                  <a:gd name="connsiteX1" fmla="*/ 2386585 w 2386584"/>
                  <a:gd name="connsiteY1" fmla="*/ 0 h 4131564"/>
                  <a:gd name="connsiteX2" fmla="*/ 2386585 w 2386584"/>
                  <a:gd name="connsiteY2" fmla="*/ 4131562 h 4131564"/>
                  <a:gd name="connsiteX3" fmla="*/ 0 w 2386584"/>
                  <a:gd name="connsiteY3" fmla="*/ 4131562 h 4131564"/>
                </a:gdLst>
                <a:ahLst/>
                <a:cxnLst>
                  <a:cxn ang="0">
                    <a:pos x="connsiteX0" y="connsiteY0"/>
                  </a:cxn>
                  <a:cxn ang="0">
                    <a:pos x="connsiteX1" y="connsiteY1"/>
                  </a:cxn>
                  <a:cxn ang="0">
                    <a:pos x="connsiteX2" y="connsiteY2"/>
                  </a:cxn>
                  <a:cxn ang="0">
                    <a:pos x="connsiteX3" y="connsiteY3"/>
                  </a:cxn>
                </a:cxnLst>
                <a:rect l="l" t="t" r="r" b="b"/>
                <a:pathLst>
                  <a:path w="2386584" h="4131564">
                    <a:moveTo>
                      <a:pt x="0" y="0"/>
                    </a:moveTo>
                    <a:lnTo>
                      <a:pt x="2386585" y="0"/>
                    </a:lnTo>
                    <a:lnTo>
                      <a:pt x="2386585" y="4131562"/>
                    </a:lnTo>
                    <a:lnTo>
                      <a:pt x="0" y="413156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5" name="Graphic 2">
                <a:extLst>
                  <a:ext uri="{FF2B5EF4-FFF2-40B4-BE49-F238E27FC236}">
                    <a16:creationId xmlns:a16="http://schemas.microsoft.com/office/drawing/2014/main" id="{3563460C-3F5A-42BE-9212-AEFB139D5338}"/>
                  </a:ext>
                </a:extLst>
              </p:cNvPr>
              <p:cNvSpPr/>
              <p:nvPr/>
            </p:nvSpPr>
            <p:spPr>
              <a:xfrm>
                <a:off x="9011885" y="6010914"/>
                <a:ext cx="47326" cy="92569"/>
              </a:xfrm>
              <a:custGeom>
                <a:avLst/>
                <a:gdLst>
                  <a:gd name="connsiteX0" fmla="*/ 1 w 865632"/>
                  <a:gd name="connsiteY0" fmla="*/ 1 h 1693164"/>
                  <a:gd name="connsiteX1" fmla="*/ 865632 w 865632"/>
                  <a:gd name="connsiteY1" fmla="*/ 1 h 1693164"/>
                  <a:gd name="connsiteX2" fmla="*/ 865632 w 865632"/>
                  <a:gd name="connsiteY2" fmla="*/ 1693163 h 1693164"/>
                  <a:gd name="connsiteX3" fmla="*/ 1 w 865632"/>
                  <a:gd name="connsiteY3" fmla="*/ 1693163 h 1693164"/>
                </a:gdLst>
                <a:ahLst/>
                <a:cxnLst>
                  <a:cxn ang="0">
                    <a:pos x="connsiteX0" y="connsiteY0"/>
                  </a:cxn>
                  <a:cxn ang="0">
                    <a:pos x="connsiteX1" y="connsiteY1"/>
                  </a:cxn>
                  <a:cxn ang="0">
                    <a:pos x="connsiteX2" y="connsiteY2"/>
                  </a:cxn>
                  <a:cxn ang="0">
                    <a:pos x="connsiteX3" y="connsiteY3"/>
                  </a:cxn>
                </a:cxnLst>
                <a:rect l="l" t="t" r="r" b="b"/>
                <a:pathLst>
                  <a:path w="865632" h="1693164">
                    <a:moveTo>
                      <a:pt x="1" y="1"/>
                    </a:moveTo>
                    <a:lnTo>
                      <a:pt x="865632" y="1"/>
                    </a:lnTo>
                    <a:lnTo>
                      <a:pt x="865632" y="1693163"/>
                    </a:lnTo>
                    <a:lnTo>
                      <a:pt x="1" y="1693163"/>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6" name="Graphic 2">
                <a:extLst>
                  <a:ext uri="{FF2B5EF4-FFF2-40B4-BE49-F238E27FC236}">
                    <a16:creationId xmlns:a16="http://schemas.microsoft.com/office/drawing/2014/main" id="{121D062F-D8CA-4730-BF5A-50A87DD42973}"/>
                  </a:ext>
                </a:extLst>
              </p:cNvPr>
              <p:cNvSpPr/>
              <p:nvPr/>
            </p:nvSpPr>
            <p:spPr>
              <a:xfrm>
                <a:off x="9011885" y="6116731"/>
                <a:ext cx="47326" cy="92569"/>
              </a:xfrm>
              <a:custGeom>
                <a:avLst/>
                <a:gdLst>
                  <a:gd name="connsiteX0" fmla="*/ 1 w 865632"/>
                  <a:gd name="connsiteY0" fmla="*/ -2 h 1693164"/>
                  <a:gd name="connsiteX1" fmla="*/ 865632 w 865632"/>
                  <a:gd name="connsiteY1" fmla="*/ -2 h 1693164"/>
                  <a:gd name="connsiteX2" fmla="*/ 865632 w 865632"/>
                  <a:gd name="connsiteY2" fmla="*/ 1693160 h 1693164"/>
                  <a:gd name="connsiteX3" fmla="*/ 1 w 865632"/>
                  <a:gd name="connsiteY3" fmla="*/ 1693160 h 1693164"/>
                </a:gdLst>
                <a:ahLst/>
                <a:cxnLst>
                  <a:cxn ang="0">
                    <a:pos x="connsiteX0" y="connsiteY0"/>
                  </a:cxn>
                  <a:cxn ang="0">
                    <a:pos x="connsiteX1" y="connsiteY1"/>
                  </a:cxn>
                  <a:cxn ang="0">
                    <a:pos x="connsiteX2" y="connsiteY2"/>
                  </a:cxn>
                  <a:cxn ang="0">
                    <a:pos x="connsiteX3" y="connsiteY3"/>
                  </a:cxn>
                </a:cxnLst>
                <a:rect l="l" t="t" r="r" b="b"/>
                <a:pathLst>
                  <a:path w="865632" h="1693164">
                    <a:moveTo>
                      <a:pt x="1" y="-2"/>
                    </a:moveTo>
                    <a:lnTo>
                      <a:pt x="865632" y="-2"/>
                    </a:lnTo>
                    <a:lnTo>
                      <a:pt x="865632" y="1693160"/>
                    </a:lnTo>
                    <a:lnTo>
                      <a:pt x="1" y="169316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7" name="Graphic 2">
                <a:extLst>
                  <a:ext uri="{FF2B5EF4-FFF2-40B4-BE49-F238E27FC236}">
                    <a16:creationId xmlns:a16="http://schemas.microsoft.com/office/drawing/2014/main" id="{431A005E-5876-4795-BBE9-D9479D93D062}"/>
                  </a:ext>
                </a:extLst>
              </p:cNvPr>
              <p:cNvSpPr/>
              <p:nvPr/>
            </p:nvSpPr>
            <p:spPr>
              <a:xfrm>
                <a:off x="9067876" y="6010914"/>
                <a:ext cx="47326" cy="92569"/>
              </a:xfrm>
              <a:custGeom>
                <a:avLst/>
                <a:gdLst>
                  <a:gd name="connsiteX0" fmla="*/ 1 w 865632"/>
                  <a:gd name="connsiteY0" fmla="*/ 1 h 1693164"/>
                  <a:gd name="connsiteX1" fmla="*/ 865632 w 865632"/>
                  <a:gd name="connsiteY1" fmla="*/ 1 h 1693164"/>
                  <a:gd name="connsiteX2" fmla="*/ 865632 w 865632"/>
                  <a:gd name="connsiteY2" fmla="*/ 1693163 h 1693164"/>
                  <a:gd name="connsiteX3" fmla="*/ 1 w 865632"/>
                  <a:gd name="connsiteY3" fmla="*/ 1693163 h 1693164"/>
                </a:gdLst>
                <a:ahLst/>
                <a:cxnLst>
                  <a:cxn ang="0">
                    <a:pos x="connsiteX0" y="connsiteY0"/>
                  </a:cxn>
                  <a:cxn ang="0">
                    <a:pos x="connsiteX1" y="connsiteY1"/>
                  </a:cxn>
                  <a:cxn ang="0">
                    <a:pos x="connsiteX2" y="connsiteY2"/>
                  </a:cxn>
                  <a:cxn ang="0">
                    <a:pos x="connsiteX3" y="connsiteY3"/>
                  </a:cxn>
                </a:cxnLst>
                <a:rect l="l" t="t" r="r" b="b"/>
                <a:pathLst>
                  <a:path w="865632" h="1693164">
                    <a:moveTo>
                      <a:pt x="1" y="1"/>
                    </a:moveTo>
                    <a:lnTo>
                      <a:pt x="865632" y="1"/>
                    </a:lnTo>
                    <a:lnTo>
                      <a:pt x="865632" y="1693163"/>
                    </a:lnTo>
                    <a:lnTo>
                      <a:pt x="1" y="1693163"/>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8" name="Graphic 2">
                <a:extLst>
                  <a:ext uri="{FF2B5EF4-FFF2-40B4-BE49-F238E27FC236}">
                    <a16:creationId xmlns:a16="http://schemas.microsoft.com/office/drawing/2014/main" id="{D65D2E24-44D2-49F3-8F93-890ABED98004}"/>
                  </a:ext>
                </a:extLst>
              </p:cNvPr>
              <p:cNvSpPr/>
              <p:nvPr/>
            </p:nvSpPr>
            <p:spPr>
              <a:xfrm>
                <a:off x="9067876" y="6116731"/>
                <a:ext cx="47326" cy="92569"/>
              </a:xfrm>
              <a:custGeom>
                <a:avLst/>
                <a:gdLst>
                  <a:gd name="connsiteX0" fmla="*/ 1 w 865632"/>
                  <a:gd name="connsiteY0" fmla="*/ -2 h 1693164"/>
                  <a:gd name="connsiteX1" fmla="*/ 865632 w 865632"/>
                  <a:gd name="connsiteY1" fmla="*/ -2 h 1693164"/>
                  <a:gd name="connsiteX2" fmla="*/ 865632 w 865632"/>
                  <a:gd name="connsiteY2" fmla="*/ 1693160 h 1693164"/>
                  <a:gd name="connsiteX3" fmla="*/ 1 w 865632"/>
                  <a:gd name="connsiteY3" fmla="*/ 1693160 h 1693164"/>
                </a:gdLst>
                <a:ahLst/>
                <a:cxnLst>
                  <a:cxn ang="0">
                    <a:pos x="connsiteX0" y="connsiteY0"/>
                  </a:cxn>
                  <a:cxn ang="0">
                    <a:pos x="connsiteX1" y="connsiteY1"/>
                  </a:cxn>
                  <a:cxn ang="0">
                    <a:pos x="connsiteX2" y="connsiteY2"/>
                  </a:cxn>
                  <a:cxn ang="0">
                    <a:pos x="connsiteX3" y="connsiteY3"/>
                  </a:cxn>
                </a:cxnLst>
                <a:rect l="l" t="t" r="r" b="b"/>
                <a:pathLst>
                  <a:path w="865632" h="1693164">
                    <a:moveTo>
                      <a:pt x="1" y="-2"/>
                    </a:moveTo>
                    <a:lnTo>
                      <a:pt x="865632" y="-2"/>
                    </a:lnTo>
                    <a:lnTo>
                      <a:pt x="865632" y="1693160"/>
                    </a:lnTo>
                    <a:lnTo>
                      <a:pt x="1" y="169316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79" name="Graphic 2">
                <a:extLst>
                  <a:ext uri="{FF2B5EF4-FFF2-40B4-BE49-F238E27FC236}">
                    <a16:creationId xmlns:a16="http://schemas.microsoft.com/office/drawing/2014/main" id="{42D15899-C496-436D-BA97-323FDAC1F132}"/>
                  </a:ext>
                </a:extLst>
              </p:cNvPr>
              <p:cNvSpPr/>
              <p:nvPr/>
            </p:nvSpPr>
            <p:spPr>
              <a:xfrm>
                <a:off x="9119534" y="6096068"/>
                <a:ext cx="5999" cy="29412"/>
              </a:xfrm>
              <a:custGeom>
                <a:avLst/>
                <a:gdLst>
                  <a:gd name="connsiteX0" fmla="*/ 54866 w 109728"/>
                  <a:gd name="connsiteY0" fmla="*/ 537972 h 537971"/>
                  <a:gd name="connsiteX1" fmla="*/ 54866 w 109728"/>
                  <a:gd name="connsiteY1" fmla="*/ 537972 h 537971"/>
                  <a:gd name="connsiteX2" fmla="*/ 0 w 109728"/>
                  <a:gd name="connsiteY2" fmla="*/ 483105 h 537971"/>
                  <a:gd name="connsiteX3" fmla="*/ 0 w 109728"/>
                  <a:gd name="connsiteY3" fmla="*/ 54862 h 537971"/>
                  <a:gd name="connsiteX4" fmla="*/ 54866 w 109728"/>
                  <a:gd name="connsiteY4" fmla="*/ 0 h 537971"/>
                  <a:gd name="connsiteX5" fmla="*/ 54866 w 109728"/>
                  <a:gd name="connsiteY5" fmla="*/ 0 h 537971"/>
                  <a:gd name="connsiteX6" fmla="*/ 109728 w 109728"/>
                  <a:gd name="connsiteY6" fmla="*/ 54862 h 537971"/>
                  <a:gd name="connsiteX7" fmla="*/ 109728 w 109728"/>
                  <a:gd name="connsiteY7" fmla="*/ 483105 h 537971"/>
                  <a:gd name="connsiteX8" fmla="*/ 54866 w 109728"/>
                  <a:gd name="connsiteY8" fmla="*/ 537972 h 53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28" h="537971">
                    <a:moveTo>
                      <a:pt x="54866" y="537972"/>
                    </a:moveTo>
                    <a:lnTo>
                      <a:pt x="54866" y="537972"/>
                    </a:lnTo>
                    <a:cubicBezTo>
                      <a:pt x="24385" y="537972"/>
                      <a:pt x="0" y="513587"/>
                      <a:pt x="0" y="483105"/>
                    </a:cubicBezTo>
                    <a:lnTo>
                      <a:pt x="0" y="54862"/>
                    </a:lnTo>
                    <a:cubicBezTo>
                      <a:pt x="0" y="24385"/>
                      <a:pt x="24385" y="0"/>
                      <a:pt x="54866" y="0"/>
                    </a:cubicBezTo>
                    <a:lnTo>
                      <a:pt x="54866" y="0"/>
                    </a:lnTo>
                    <a:cubicBezTo>
                      <a:pt x="85344" y="0"/>
                      <a:pt x="109728" y="24385"/>
                      <a:pt x="109728" y="54862"/>
                    </a:cubicBezTo>
                    <a:lnTo>
                      <a:pt x="109728" y="483105"/>
                    </a:lnTo>
                    <a:cubicBezTo>
                      <a:pt x="109728" y="512062"/>
                      <a:pt x="85344" y="537972"/>
                      <a:pt x="54866" y="537972"/>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80" name="Graphic 2">
                <a:extLst>
                  <a:ext uri="{FF2B5EF4-FFF2-40B4-BE49-F238E27FC236}">
                    <a16:creationId xmlns:a16="http://schemas.microsoft.com/office/drawing/2014/main" id="{1CD95F8D-B245-4121-A9A4-3AF44F914CB6}"/>
                  </a:ext>
                </a:extLst>
              </p:cNvPr>
              <p:cNvSpPr/>
              <p:nvPr/>
            </p:nvSpPr>
            <p:spPr>
              <a:xfrm>
                <a:off x="8988305" y="6222965"/>
                <a:ext cx="150476" cy="7999"/>
              </a:xfrm>
              <a:custGeom>
                <a:avLst/>
                <a:gdLst>
                  <a:gd name="connsiteX0" fmla="*/ -1 w 2752344"/>
                  <a:gd name="connsiteY0" fmla="*/ -2 h 146303"/>
                  <a:gd name="connsiteX1" fmla="*/ 2752342 w 2752344"/>
                  <a:gd name="connsiteY1" fmla="*/ -2 h 146303"/>
                  <a:gd name="connsiteX2" fmla="*/ 2752342 w 2752344"/>
                  <a:gd name="connsiteY2" fmla="*/ 146301 h 146303"/>
                  <a:gd name="connsiteX3" fmla="*/ -1 w 2752344"/>
                  <a:gd name="connsiteY3" fmla="*/ 146301 h 146303"/>
                </a:gdLst>
                <a:ahLst/>
                <a:cxnLst>
                  <a:cxn ang="0">
                    <a:pos x="connsiteX0" y="connsiteY0"/>
                  </a:cxn>
                  <a:cxn ang="0">
                    <a:pos x="connsiteX1" y="connsiteY1"/>
                  </a:cxn>
                  <a:cxn ang="0">
                    <a:pos x="connsiteX2" y="connsiteY2"/>
                  </a:cxn>
                  <a:cxn ang="0">
                    <a:pos x="connsiteX3" y="connsiteY3"/>
                  </a:cxn>
                </a:cxnLst>
                <a:rect l="l" t="t" r="r" b="b"/>
                <a:pathLst>
                  <a:path w="2752344" h="146303">
                    <a:moveTo>
                      <a:pt x="-1" y="-2"/>
                    </a:moveTo>
                    <a:lnTo>
                      <a:pt x="2752342" y="-2"/>
                    </a:lnTo>
                    <a:lnTo>
                      <a:pt x="2752342" y="146301"/>
                    </a:lnTo>
                    <a:lnTo>
                      <a:pt x="-1" y="146301"/>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81" name="Graphic 2">
                <a:extLst>
                  <a:ext uri="{FF2B5EF4-FFF2-40B4-BE49-F238E27FC236}">
                    <a16:creationId xmlns:a16="http://schemas.microsoft.com/office/drawing/2014/main" id="{ECAC7846-2111-42AC-A0D3-9DB659C752AB}"/>
                  </a:ext>
                </a:extLst>
              </p:cNvPr>
              <p:cNvSpPr/>
              <p:nvPr/>
            </p:nvSpPr>
            <p:spPr>
              <a:xfrm>
                <a:off x="8982473" y="6230380"/>
                <a:ext cx="162224" cy="8582"/>
              </a:xfrm>
              <a:custGeom>
                <a:avLst/>
                <a:gdLst>
                  <a:gd name="connsiteX0" fmla="*/ 1 w 2967227"/>
                  <a:gd name="connsiteY0" fmla="*/ 0 h 156971"/>
                  <a:gd name="connsiteX1" fmla="*/ 2967230 w 2967227"/>
                  <a:gd name="connsiteY1" fmla="*/ 0 h 156971"/>
                  <a:gd name="connsiteX2" fmla="*/ 2967230 w 2967227"/>
                  <a:gd name="connsiteY2" fmla="*/ 156972 h 156971"/>
                  <a:gd name="connsiteX3" fmla="*/ 1 w 2967227"/>
                  <a:gd name="connsiteY3" fmla="*/ 156972 h 156971"/>
                </a:gdLst>
                <a:ahLst/>
                <a:cxnLst>
                  <a:cxn ang="0">
                    <a:pos x="connsiteX0" y="connsiteY0"/>
                  </a:cxn>
                  <a:cxn ang="0">
                    <a:pos x="connsiteX1" y="connsiteY1"/>
                  </a:cxn>
                  <a:cxn ang="0">
                    <a:pos x="connsiteX2" y="connsiteY2"/>
                  </a:cxn>
                  <a:cxn ang="0">
                    <a:pos x="connsiteX3" y="connsiteY3"/>
                  </a:cxn>
                </a:cxnLst>
                <a:rect l="l" t="t" r="r" b="b"/>
                <a:pathLst>
                  <a:path w="2967227" h="156971">
                    <a:moveTo>
                      <a:pt x="1" y="0"/>
                    </a:moveTo>
                    <a:lnTo>
                      <a:pt x="2967230" y="0"/>
                    </a:lnTo>
                    <a:lnTo>
                      <a:pt x="2967230" y="156972"/>
                    </a:lnTo>
                    <a:lnTo>
                      <a:pt x="1" y="15697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82" name="Graphic 2">
                <a:extLst>
                  <a:ext uri="{FF2B5EF4-FFF2-40B4-BE49-F238E27FC236}">
                    <a16:creationId xmlns:a16="http://schemas.microsoft.com/office/drawing/2014/main" id="{60EEC836-14DA-4916-8336-0889E352A3CE}"/>
                  </a:ext>
                </a:extLst>
              </p:cNvPr>
              <p:cNvSpPr/>
              <p:nvPr/>
            </p:nvSpPr>
            <p:spPr>
              <a:xfrm>
                <a:off x="8974224" y="6237879"/>
                <a:ext cx="178721" cy="15914"/>
              </a:xfrm>
              <a:custGeom>
                <a:avLst/>
                <a:gdLst>
                  <a:gd name="connsiteX0" fmla="*/ -2 w 3268979"/>
                  <a:gd name="connsiteY0" fmla="*/ -1 h 291084"/>
                  <a:gd name="connsiteX1" fmla="*/ 3268980 w 3268979"/>
                  <a:gd name="connsiteY1" fmla="*/ -1 h 291084"/>
                  <a:gd name="connsiteX2" fmla="*/ 3268980 w 3268979"/>
                  <a:gd name="connsiteY2" fmla="*/ 291084 h 291084"/>
                  <a:gd name="connsiteX3" fmla="*/ -2 w 3268979"/>
                  <a:gd name="connsiteY3" fmla="*/ 291084 h 291084"/>
                </a:gdLst>
                <a:ahLst/>
                <a:cxnLst>
                  <a:cxn ang="0">
                    <a:pos x="connsiteX0" y="connsiteY0"/>
                  </a:cxn>
                  <a:cxn ang="0">
                    <a:pos x="connsiteX1" y="connsiteY1"/>
                  </a:cxn>
                  <a:cxn ang="0">
                    <a:pos x="connsiteX2" y="connsiteY2"/>
                  </a:cxn>
                  <a:cxn ang="0">
                    <a:pos x="connsiteX3" y="connsiteY3"/>
                  </a:cxn>
                </a:cxnLst>
                <a:rect l="l" t="t" r="r" b="b"/>
                <a:pathLst>
                  <a:path w="3268979" h="291084">
                    <a:moveTo>
                      <a:pt x="-2" y="-1"/>
                    </a:moveTo>
                    <a:lnTo>
                      <a:pt x="3268980" y="-1"/>
                    </a:lnTo>
                    <a:lnTo>
                      <a:pt x="3268980" y="291084"/>
                    </a:lnTo>
                    <a:lnTo>
                      <a:pt x="-2" y="291084"/>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nvGrpSpPr>
              <p:cNvPr id="783" name="Group 782">
                <a:extLst>
                  <a:ext uri="{FF2B5EF4-FFF2-40B4-BE49-F238E27FC236}">
                    <a16:creationId xmlns:a16="http://schemas.microsoft.com/office/drawing/2014/main" id="{7E4C569E-F697-4F95-A0C1-8D28DD73F7C4}"/>
                  </a:ext>
                </a:extLst>
              </p:cNvPr>
              <p:cNvGrpSpPr/>
              <p:nvPr/>
            </p:nvGrpSpPr>
            <p:grpSpPr>
              <a:xfrm>
                <a:off x="7767253" y="2835775"/>
                <a:ext cx="565241" cy="443932"/>
                <a:chOff x="7767253" y="2835775"/>
                <a:chExt cx="565241" cy="443932"/>
              </a:xfrm>
            </p:grpSpPr>
            <p:sp>
              <p:nvSpPr>
                <p:cNvPr id="1998" name="Graphic 2">
                  <a:extLst>
                    <a:ext uri="{FF2B5EF4-FFF2-40B4-BE49-F238E27FC236}">
                      <a16:creationId xmlns:a16="http://schemas.microsoft.com/office/drawing/2014/main" id="{71A8923E-50D9-431E-BFC9-37954A268529}"/>
                    </a:ext>
                  </a:extLst>
                </p:cNvPr>
                <p:cNvSpPr/>
                <p:nvPr/>
              </p:nvSpPr>
              <p:spPr>
                <a:xfrm>
                  <a:off x="8062040" y="3164222"/>
                  <a:ext cx="14331" cy="67992"/>
                </a:xfrm>
                <a:custGeom>
                  <a:avLst/>
                  <a:gdLst>
                    <a:gd name="connsiteX0" fmla="*/ 28956 w 262128"/>
                    <a:gd name="connsiteY0" fmla="*/ 50 h 1243635"/>
                    <a:gd name="connsiteX1" fmla="*/ 252985 w 262128"/>
                    <a:gd name="connsiteY1" fmla="*/ 86919 h 1243635"/>
                    <a:gd name="connsiteX2" fmla="*/ 262128 w 262128"/>
                    <a:gd name="connsiteY2" fmla="*/ 1185722 h 1243635"/>
                    <a:gd name="connsiteX3" fmla="*/ 0 w 262128"/>
                    <a:gd name="connsiteY3" fmla="*/ 1243634 h 1243635"/>
                    <a:gd name="connsiteX4" fmla="*/ 28956 w 262128"/>
                    <a:gd name="connsiteY4" fmla="*/ 50 h 1243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28" h="1243635">
                      <a:moveTo>
                        <a:pt x="28956" y="50"/>
                      </a:moveTo>
                      <a:lnTo>
                        <a:pt x="252985" y="86919"/>
                      </a:lnTo>
                      <a:lnTo>
                        <a:pt x="262128" y="1185722"/>
                      </a:lnTo>
                      <a:lnTo>
                        <a:pt x="0" y="1243634"/>
                      </a:lnTo>
                      <a:cubicBezTo>
                        <a:pt x="0" y="1245155"/>
                        <a:pt x="19813" y="-9094"/>
                        <a:pt x="28956" y="5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9" name="Graphic 2">
                  <a:extLst>
                    <a:ext uri="{FF2B5EF4-FFF2-40B4-BE49-F238E27FC236}">
                      <a16:creationId xmlns:a16="http://schemas.microsoft.com/office/drawing/2014/main" id="{EFAA84B9-330B-457D-8C46-AF37ED99A0F4}"/>
                    </a:ext>
                  </a:extLst>
                </p:cNvPr>
                <p:cNvSpPr/>
                <p:nvPr/>
              </p:nvSpPr>
              <p:spPr>
                <a:xfrm>
                  <a:off x="8237510" y="3063323"/>
                  <a:ext cx="88318" cy="216384"/>
                </a:xfrm>
                <a:custGeom>
                  <a:avLst/>
                  <a:gdLst>
                    <a:gd name="connsiteX0" fmla="*/ 0 w 1615436"/>
                    <a:gd name="connsiteY0" fmla="*/ 0 h 3957828"/>
                    <a:gd name="connsiteX1" fmla="*/ 0 w 1615436"/>
                    <a:gd name="connsiteY1" fmla="*/ 2967228 h 3957828"/>
                    <a:gd name="connsiteX2" fmla="*/ 155446 w 1615436"/>
                    <a:gd name="connsiteY2" fmla="*/ 3139441 h 3957828"/>
                    <a:gd name="connsiteX3" fmla="*/ 155446 w 1615436"/>
                    <a:gd name="connsiteY3" fmla="*/ 3677413 h 3957828"/>
                    <a:gd name="connsiteX4" fmla="*/ 1226818 w 1615436"/>
                    <a:gd name="connsiteY4" fmla="*/ 3957828 h 3957828"/>
                    <a:gd name="connsiteX5" fmla="*/ 1615436 w 1615436"/>
                    <a:gd name="connsiteY5" fmla="*/ 2075687 h 3957828"/>
                    <a:gd name="connsiteX6" fmla="*/ 1615436 w 1615436"/>
                    <a:gd name="connsiteY6" fmla="*/ 172213 h 395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5436" h="3957828">
                      <a:moveTo>
                        <a:pt x="0" y="0"/>
                      </a:moveTo>
                      <a:lnTo>
                        <a:pt x="0" y="2967228"/>
                      </a:lnTo>
                      <a:lnTo>
                        <a:pt x="155446" y="3139441"/>
                      </a:lnTo>
                      <a:lnTo>
                        <a:pt x="155446" y="3677413"/>
                      </a:lnTo>
                      <a:lnTo>
                        <a:pt x="1226818" y="3957828"/>
                      </a:lnTo>
                      <a:lnTo>
                        <a:pt x="1615436" y="2075687"/>
                      </a:lnTo>
                      <a:lnTo>
                        <a:pt x="1615436" y="172213"/>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0" name="Graphic 2">
                  <a:extLst>
                    <a:ext uri="{FF2B5EF4-FFF2-40B4-BE49-F238E27FC236}">
                      <a16:creationId xmlns:a16="http://schemas.microsoft.com/office/drawing/2014/main" id="{B5F5BB38-AF73-4F12-86AE-0F4DF2DA4DAA}"/>
                    </a:ext>
                  </a:extLst>
                </p:cNvPr>
                <p:cNvSpPr/>
                <p:nvPr/>
              </p:nvSpPr>
              <p:spPr>
                <a:xfrm>
                  <a:off x="8237510" y="3059491"/>
                  <a:ext cx="94984" cy="220216"/>
                </a:xfrm>
                <a:custGeom>
                  <a:avLst/>
                  <a:gdLst>
                    <a:gd name="connsiteX0" fmla="*/ 170687 w 1737359"/>
                    <a:gd name="connsiteY0" fmla="*/ 0 h 4027930"/>
                    <a:gd name="connsiteX1" fmla="*/ 0 w 1737359"/>
                    <a:gd name="connsiteY1" fmla="*/ 70103 h 4027930"/>
                    <a:gd name="connsiteX2" fmla="*/ 1615436 w 1737359"/>
                    <a:gd name="connsiteY2" fmla="*/ 242315 h 4027930"/>
                    <a:gd name="connsiteX3" fmla="*/ 1615436 w 1737359"/>
                    <a:gd name="connsiteY3" fmla="*/ 2145790 h 4027930"/>
                    <a:gd name="connsiteX4" fmla="*/ 1226818 w 1737359"/>
                    <a:gd name="connsiteY4" fmla="*/ 4027931 h 4027930"/>
                    <a:gd name="connsiteX5" fmla="*/ 1333500 w 1737359"/>
                    <a:gd name="connsiteY5" fmla="*/ 4015741 h 4027930"/>
                    <a:gd name="connsiteX6" fmla="*/ 1737359 w 1737359"/>
                    <a:gd name="connsiteY6" fmla="*/ 2135126 h 4027930"/>
                    <a:gd name="connsiteX7" fmla="*/ 1722118 w 1737359"/>
                    <a:gd name="connsiteY7" fmla="*/ 155446 h 402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359" h="4027930">
                      <a:moveTo>
                        <a:pt x="170687" y="0"/>
                      </a:moveTo>
                      <a:lnTo>
                        <a:pt x="0" y="70103"/>
                      </a:lnTo>
                      <a:lnTo>
                        <a:pt x="1615436" y="242315"/>
                      </a:lnTo>
                      <a:lnTo>
                        <a:pt x="1615436" y="2145790"/>
                      </a:lnTo>
                      <a:lnTo>
                        <a:pt x="1226818" y="4027931"/>
                      </a:lnTo>
                      <a:lnTo>
                        <a:pt x="1333500" y="4015741"/>
                      </a:lnTo>
                      <a:lnTo>
                        <a:pt x="1737359" y="2135126"/>
                      </a:lnTo>
                      <a:lnTo>
                        <a:pt x="1722118" y="155446"/>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1" name="Graphic 2">
                  <a:extLst>
                    <a:ext uri="{FF2B5EF4-FFF2-40B4-BE49-F238E27FC236}">
                      <a16:creationId xmlns:a16="http://schemas.microsoft.com/office/drawing/2014/main" id="{836A4D4A-F5D3-4BE4-8411-A7DC008FFE7C}"/>
                    </a:ext>
                  </a:extLst>
                </p:cNvPr>
                <p:cNvSpPr/>
                <p:nvPr/>
              </p:nvSpPr>
              <p:spPr>
                <a:xfrm>
                  <a:off x="8242593" y="3074239"/>
                  <a:ext cx="10332" cy="28829"/>
                </a:xfrm>
                <a:custGeom>
                  <a:avLst/>
                  <a:gdLst>
                    <a:gd name="connsiteX0" fmla="*/ 188975 w 188976"/>
                    <a:gd name="connsiteY0" fmla="*/ 263652 h 527304"/>
                    <a:gd name="connsiteX1" fmla="*/ 94487 w 188976"/>
                    <a:gd name="connsiteY1" fmla="*/ 527306 h 527304"/>
                    <a:gd name="connsiteX2" fmla="*/ 0 w 188976"/>
                    <a:gd name="connsiteY2" fmla="*/ 263652 h 527304"/>
                    <a:gd name="connsiteX3" fmla="*/ 94487 w 188976"/>
                    <a:gd name="connsiteY3" fmla="*/ -2 h 527304"/>
                    <a:gd name="connsiteX4" fmla="*/ 188975 w 188976"/>
                    <a:gd name="connsiteY4" fmla="*/ 263652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5" y="263652"/>
                      </a:moveTo>
                      <a:cubicBezTo>
                        <a:pt x="188975" y="409262"/>
                        <a:pt x="146670" y="527306"/>
                        <a:pt x="94487" y="527306"/>
                      </a:cubicBezTo>
                      <a:cubicBezTo>
                        <a:pt x="42304" y="527306"/>
                        <a:pt x="0" y="409266"/>
                        <a:pt x="0" y="263652"/>
                      </a:cubicBezTo>
                      <a:cubicBezTo>
                        <a:pt x="0" y="118042"/>
                        <a:pt x="42304" y="-2"/>
                        <a:pt x="94487" y="-2"/>
                      </a:cubicBezTo>
                      <a:cubicBezTo>
                        <a:pt x="146670" y="-2"/>
                        <a:pt x="188975" y="118038"/>
                        <a:pt x="188975" y="263652"/>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2" name="Graphic 2">
                  <a:extLst>
                    <a:ext uri="{FF2B5EF4-FFF2-40B4-BE49-F238E27FC236}">
                      <a16:creationId xmlns:a16="http://schemas.microsoft.com/office/drawing/2014/main" id="{A72C072F-8236-4CEF-9350-11F36081EBA1}"/>
                    </a:ext>
                  </a:extLst>
                </p:cNvPr>
                <p:cNvSpPr/>
                <p:nvPr/>
              </p:nvSpPr>
              <p:spPr>
                <a:xfrm>
                  <a:off x="8240676" y="3074239"/>
                  <a:ext cx="10332" cy="28829"/>
                </a:xfrm>
                <a:custGeom>
                  <a:avLst/>
                  <a:gdLst>
                    <a:gd name="connsiteX0" fmla="*/ 188977 w 188976"/>
                    <a:gd name="connsiteY0" fmla="*/ 263652 h 527304"/>
                    <a:gd name="connsiteX1" fmla="*/ 94490 w 188976"/>
                    <a:gd name="connsiteY1" fmla="*/ 527306 h 527304"/>
                    <a:gd name="connsiteX2" fmla="*/ 3 w 188976"/>
                    <a:gd name="connsiteY2" fmla="*/ 263652 h 527304"/>
                    <a:gd name="connsiteX3" fmla="*/ 94490 w 188976"/>
                    <a:gd name="connsiteY3" fmla="*/ -2 h 527304"/>
                    <a:gd name="connsiteX4" fmla="*/ 188977 w 188976"/>
                    <a:gd name="connsiteY4" fmla="*/ 263652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7" y="263652"/>
                      </a:moveTo>
                      <a:cubicBezTo>
                        <a:pt x="188977" y="409262"/>
                        <a:pt x="146673" y="527306"/>
                        <a:pt x="94490" y="527306"/>
                      </a:cubicBezTo>
                      <a:cubicBezTo>
                        <a:pt x="42307" y="527306"/>
                        <a:pt x="3" y="409266"/>
                        <a:pt x="3" y="263652"/>
                      </a:cubicBezTo>
                      <a:cubicBezTo>
                        <a:pt x="3" y="118042"/>
                        <a:pt x="42307" y="-2"/>
                        <a:pt x="94490" y="-2"/>
                      </a:cubicBezTo>
                      <a:cubicBezTo>
                        <a:pt x="146673" y="-2"/>
                        <a:pt x="188977" y="118038"/>
                        <a:pt x="188977" y="263652"/>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3" name="Graphic 2">
                  <a:extLst>
                    <a:ext uri="{FF2B5EF4-FFF2-40B4-BE49-F238E27FC236}">
                      <a16:creationId xmlns:a16="http://schemas.microsoft.com/office/drawing/2014/main" id="{A3775A04-2E8B-4D6A-95EA-6109C08DD8CB}"/>
                    </a:ext>
                  </a:extLst>
                </p:cNvPr>
                <p:cNvSpPr/>
                <p:nvPr/>
              </p:nvSpPr>
              <p:spPr>
                <a:xfrm>
                  <a:off x="8250508" y="3244962"/>
                  <a:ext cx="5332" cy="14998"/>
                </a:xfrm>
                <a:custGeom>
                  <a:avLst/>
                  <a:gdLst>
                    <a:gd name="connsiteX0" fmla="*/ 97535 w 97535"/>
                    <a:gd name="connsiteY0" fmla="*/ 137161 h 274319"/>
                    <a:gd name="connsiteX1" fmla="*/ 48766 w 97535"/>
                    <a:gd name="connsiteY1" fmla="*/ 274320 h 274319"/>
                    <a:gd name="connsiteX2" fmla="*/ -3 w 97535"/>
                    <a:gd name="connsiteY2" fmla="*/ 137161 h 274319"/>
                    <a:gd name="connsiteX3" fmla="*/ 48766 w 97535"/>
                    <a:gd name="connsiteY3" fmla="*/ 1 h 274319"/>
                    <a:gd name="connsiteX4" fmla="*/ 97535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5" y="137161"/>
                      </a:moveTo>
                      <a:cubicBezTo>
                        <a:pt x="97535" y="212914"/>
                        <a:pt x="75700" y="274320"/>
                        <a:pt x="48766" y="274320"/>
                      </a:cubicBezTo>
                      <a:cubicBezTo>
                        <a:pt x="21833" y="274320"/>
                        <a:pt x="-3" y="212909"/>
                        <a:pt x="-3" y="137161"/>
                      </a:cubicBezTo>
                      <a:cubicBezTo>
                        <a:pt x="-3" y="61407"/>
                        <a:pt x="21833" y="1"/>
                        <a:pt x="48766" y="1"/>
                      </a:cubicBezTo>
                      <a:cubicBezTo>
                        <a:pt x="75700" y="1"/>
                        <a:pt x="97535" y="61412"/>
                        <a:pt x="97535" y="137161"/>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4" name="Graphic 2">
                  <a:extLst>
                    <a:ext uri="{FF2B5EF4-FFF2-40B4-BE49-F238E27FC236}">
                      <a16:creationId xmlns:a16="http://schemas.microsoft.com/office/drawing/2014/main" id="{3A833769-F658-4AD3-A0E0-3B7B5C33E599}"/>
                    </a:ext>
                  </a:extLst>
                </p:cNvPr>
                <p:cNvSpPr/>
                <p:nvPr/>
              </p:nvSpPr>
              <p:spPr>
                <a:xfrm>
                  <a:off x="8249508" y="3244962"/>
                  <a:ext cx="5332" cy="14998"/>
                </a:xfrm>
                <a:custGeom>
                  <a:avLst/>
                  <a:gdLst>
                    <a:gd name="connsiteX0" fmla="*/ 97536 w 97535"/>
                    <a:gd name="connsiteY0" fmla="*/ 137161 h 274319"/>
                    <a:gd name="connsiteX1" fmla="*/ 48767 w 97535"/>
                    <a:gd name="connsiteY1" fmla="*/ 274320 h 274319"/>
                    <a:gd name="connsiteX2" fmla="*/ -2 w 97535"/>
                    <a:gd name="connsiteY2" fmla="*/ 137161 h 274319"/>
                    <a:gd name="connsiteX3" fmla="*/ 48767 w 97535"/>
                    <a:gd name="connsiteY3" fmla="*/ 1 h 274319"/>
                    <a:gd name="connsiteX4" fmla="*/ 97536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6" y="137161"/>
                      </a:moveTo>
                      <a:cubicBezTo>
                        <a:pt x="97536" y="212914"/>
                        <a:pt x="75700" y="274320"/>
                        <a:pt x="48767" y="274320"/>
                      </a:cubicBezTo>
                      <a:cubicBezTo>
                        <a:pt x="21834" y="274320"/>
                        <a:pt x="-2" y="212909"/>
                        <a:pt x="-2" y="137161"/>
                      </a:cubicBezTo>
                      <a:cubicBezTo>
                        <a:pt x="-2" y="61407"/>
                        <a:pt x="21834" y="1"/>
                        <a:pt x="48767" y="1"/>
                      </a:cubicBezTo>
                      <a:cubicBezTo>
                        <a:pt x="75700" y="1"/>
                        <a:pt x="97536" y="61412"/>
                        <a:pt x="97536" y="137161"/>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5" name="Graphic 2">
                  <a:extLst>
                    <a:ext uri="{FF2B5EF4-FFF2-40B4-BE49-F238E27FC236}">
                      <a16:creationId xmlns:a16="http://schemas.microsoft.com/office/drawing/2014/main" id="{59E42AC0-69A4-4A7C-9EE0-918D574EC44D}"/>
                    </a:ext>
                  </a:extLst>
                </p:cNvPr>
                <p:cNvSpPr/>
                <p:nvPr/>
              </p:nvSpPr>
              <p:spPr>
                <a:xfrm>
                  <a:off x="8294750" y="3255128"/>
                  <a:ext cx="5332" cy="14998"/>
                </a:xfrm>
                <a:custGeom>
                  <a:avLst/>
                  <a:gdLst>
                    <a:gd name="connsiteX0" fmla="*/ 97535 w 97535"/>
                    <a:gd name="connsiteY0" fmla="*/ 137161 h 274319"/>
                    <a:gd name="connsiteX1" fmla="*/ 48766 w 97535"/>
                    <a:gd name="connsiteY1" fmla="*/ 274320 h 274319"/>
                    <a:gd name="connsiteX2" fmla="*/ -3 w 97535"/>
                    <a:gd name="connsiteY2" fmla="*/ 137161 h 274319"/>
                    <a:gd name="connsiteX3" fmla="*/ 48766 w 97535"/>
                    <a:gd name="connsiteY3" fmla="*/ 2 h 274319"/>
                    <a:gd name="connsiteX4" fmla="*/ 97535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5" y="137161"/>
                      </a:moveTo>
                      <a:cubicBezTo>
                        <a:pt x="97535" y="212914"/>
                        <a:pt x="75699" y="274320"/>
                        <a:pt x="48766" y="274320"/>
                      </a:cubicBezTo>
                      <a:cubicBezTo>
                        <a:pt x="21833" y="274320"/>
                        <a:pt x="-3" y="212910"/>
                        <a:pt x="-3" y="137161"/>
                      </a:cubicBezTo>
                      <a:cubicBezTo>
                        <a:pt x="-3" y="61407"/>
                        <a:pt x="21833" y="2"/>
                        <a:pt x="48766" y="2"/>
                      </a:cubicBezTo>
                      <a:cubicBezTo>
                        <a:pt x="75699" y="2"/>
                        <a:pt x="97535" y="61412"/>
                        <a:pt x="97535" y="137161"/>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6" name="Graphic 2">
                  <a:extLst>
                    <a:ext uri="{FF2B5EF4-FFF2-40B4-BE49-F238E27FC236}">
                      <a16:creationId xmlns:a16="http://schemas.microsoft.com/office/drawing/2014/main" id="{8394FB50-E079-4504-A96D-E69E228F4DAA}"/>
                    </a:ext>
                  </a:extLst>
                </p:cNvPr>
                <p:cNvSpPr/>
                <p:nvPr/>
              </p:nvSpPr>
              <p:spPr>
                <a:xfrm>
                  <a:off x="8293834" y="3255128"/>
                  <a:ext cx="5332" cy="14998"/>
                </a:xfrm>
                <a:custGeom>
                  <a:avLst/>
                  <a:gdLst>
                    <a:gd name="connsiteX0" fmla="*/ 97537 w 97535"/>
                    <a:gd name="connsiteY0" fmla="*/ 137161 h 274319"/>
                    <a:gd name="connsiteX1" fmla="*/ 48768 w 97535"/>
                    <a:gd name="connsiteY1" fmla="*/ 274320 h 274319"/>
                    <a:gd name="connsiteX2" fmla="*/ -1 w 97535"/>
                    <a:gd name="connsiteY2" fmla="*/ 137161 h 274319"/>
                    <a:gd name="connsiteX3" fmla="*/ 48768 w 97535"/>
                    <a:gd name="connsiteY3" fmla="*/ 2 h 274319"/>
                    <a:gd name="connsiteX4" fmla="*/ 97537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7" y="137161"/>
                      </a:moveTo>
                      <a:cubicBezTo>
                        <a:pt x="97537" y="212914"/>
                        <a:pt x="75701" y="274320"/>
                        <a:pt x="48768" y="274320"/>
                      </a:cubicBezTo>
                      <a:cubicBezTo>
                        <a:pt x="21835" y="274320"/>
                        <a:pt x="-1" y="212910"/>
                        <a:pt x="-1" y="137161"/>
                      </a:cubicBezTo>
                      <a:cubicBezTo>
                        <a:pt x="-1" y="61407"/>
                        <a:pt x="21835" y="2"/>
                        <a:pt x="48768" y="2"/>
                      </a:cubicBezTo>
                      <a:cubicBezTo>
                        <a:pt x="75701" y="2"/>
                        <a:pt x="97537" y="61412"/>
                        <a:pt x="97537" y="137161"/>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7" name="Graphic 2">
                  <a:extLst>
                    <a:ext uri="{FF2B5EF4-FFF2-40B4-BE49-F238E27FC236}">
                      <a16:creationId xmlns:a16="http://schemas.microsoft.com/office/drawing/2014/main" id="{BB63BFE5-C97D-425B-9971-96C16BEE9672}"/>
                    </a:ext>
                  </a:extLst>
                </p:cNvPr>
                <p:cNvSpPr/>
                <p:nvPr/>
              </p:nvSpPr>
              <p:spPr>
                <a:xfrm>
                  <a:off x="8306748" y="3080904"/>
                  <a:ext cx="10332" cy="28829"/>
                </a:xfrm>
                <a:custGeom>
                  <a:avLst/>
                  <a:gdLst>
                    <a:gd name="connsiteX0" fmla="*/ 188976 w 188976"/>
                    <a:gd name="connsiteY0" fmla="*/ 263650 h 527304"/>
                    <a:gd name="connsiteX1" fmla="*/ 94489 w 188976"/>
                    <a:gd name="connsiteY1" fmla="*/ 527304 h 527304"/>
                    <a:gd name="connsiteX2" fmla="*/ 2 w 188976"/>
                    <a:gd name="connsiteY2" fmla="*/ 263650 h 527304"/>
                    <a:gd name="connsiteX3" fmla="*/ 94489 w 188976"/>
                    <a:gd name="connsiteY3" fmla="*/ -4 h 527304"/>
                    <a:gd name="connsiteX4" fmla="*/ 188976 w 188976"/>
                    <a:gd name="connsiteY4" fmla="*/ 263650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6" y="263650"/>
                      </a:moveTo>
                      <a:cubicBezTo>
                        <a:pt x="188976" y="409260"/>
                        <a:pt x="146672" y="527304"/>
                        <a:pt x="94489" y="527304"/>
                      </a:cubicBezTo>
                      <a:cubicBezTo>
                        <a:pt x="42306" y="527304"/>
                        <a:pt x="2" y="409265"/>
                        <a:pt x="2" y="263650"/>
                      </a:cubicBezTo>
                      <a:cubicBezTo>
                        <a:pt x="2" y="118040"/>
                        <a:pt x="42306" y="-4"/>
                        <a:pt x="94489" y="-4"/>
                      </a:cubicBezTo>
                      <a:cubicBezTo>
                        <a:pt x="146672" y="-4"/>
                        <a:pt x="188976" y="118036"/>
                        <a:pt x="188976" y="26365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8" name="Graphic 2">
                  <a:extLst>
                    <a:ext uri="{FF2B5EF4-FFF2-40B4-BE49-F238E27FC236}">
                      <a16:creationId xmlns:a16="http://schemas.microsoft.com/office/drawing/2014/main" id="{0EC1A2E4-8E7F-4C40-82CE-7919694E6643}"/>
                    </a:ext>
                  </a:extLst>
                </p:cNvPr>
                <p:cNvSpPr/>
                <p:nvPr/>
              </p:nvSpPr>
              <p:spPr>
                <a:xfrm>
                  <a:off x="8304915" y="3080904"/>
                  <a:ext cx="10332" cy="28829"/>
                </a:xfrm>
                <a:custGeom>
                  <a:avLst/>
                  <a:gdLst>
                    <a:gd name="connsiteX0" fmla="*/ 188976 w 188976"/>
                    <a:gd name="connsiteY0" fmla="*/ 263650 h 527304"/>
                    <a:gd name="connsiteX1" fmla="*/ 94489 w 188976"/>
                    <a:gd name="connsiteY1" fmla="*/ 527304 h 527304"/>
                    <a:gd name="connsiteX2" fmla="*/ 2 w 188976"/>
                    <a:gd name="connsiteY2" fmla="*/ 263650 h 527304"/>
                    <a:gd name="connsiteX3" fmla="*/ 94489 w 188976"/>
                    <a:gd name="connsiteY3" fmla="*/ -4 h 527304"/>
                    <a:gd name="connsiteX4" fmla="*/ 188976 w 188976"/>
                    <a:gd name="connsiteY4" fmla="*/ 263650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6" y="263650"/>
                      </a:moveTo>
                      <a:cubicBezTo>
                        <a:pt x="188976" y="409260"/>
                        <a:pt x="146672" y="527304"/>
                        <a:pt x="94489" y="527304"/>
                      </a:cubicBezTo>
                      <a:cubicBezTo>
                        <a:pt x="42306" y="527304"/>
                        <a:pt x="2" y="409265"/>
                        <a:pt x="2" y="263650"/>
                      </a:cubicBezTo>
                      <a:cubicBezTo>
                        <a:pt x="2" y="118040"/>
                        <a:pt x="42306" y="-4"/>
                        <a:pt x="94489" y="-4"/>
                      </a:cubicBezTo>
                      <a:cubicBezTo>
                        <a:pt x="146672" y="-4"/>
                        <a:pt x="188976" y="118036"/>
                        <a:pt x="188976" y="263650"/>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09" name="Graphic 2">
                  <a:extLst>
                    <a:ext uri="{FF2B5EF4-FFF2-40B4-BE49-F238E27FC236}">
                      <a16:creationId xmlns:a16="http://schemas.microsoft.com/office/drawing/2014/main" id="{3D976714-F5A4-4381-A87E-70CF2D8D976C}"/>
                    </a:ext>
                  </a:extLst>
                </p:cNvPr>
                <p:cNvSpPr/>
                <p:nvPr/>
              </p:nvSpPr>
              <p:spPr>
                <a:xfrm>
                  <a:off x="8059374" y="3118565"/>
                  <a:ext cx="239876" cy="50492"/>
                </a:xfrm>
                <a:custGeom>
                  <a:avLst/>
                  <a:gdLst>
                    <a:gd name="connsiteX0" fmla="*/ 4387593 w 4387592"/>
                    <a:gd name="connsiteY0" fmla="*/ 173738 h 923543"/>
                    <a:gd name="connsiteX1" fmla="*/ 301749 w 4387592"/>
                    <a:gd name="connsiteY1" fmla="*/ 923544 h 923543"/>
                    <a:gd name="connsiteX2" fmla="*/ 77721 w 4387592"/>
                    <a:gd name="connsiteY2" fmla="*/ 835154 h 923543"/>
                    <a:gd name="connsiteX3" fmla="*/ 0 w 4387592"/>
                    <a:gd name="connsiteY3" fmla="*/ 679703 h 923543"/>
                    <a:gd name="connsiteX4" fmla="*/ 3278121 w 4387592"/>
                    <a:gd name="connsiteY4" fmla="*/ 0 h 923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7592" h="923543">
                      <a:moveTo>
                        <a:pt x="4387593" y="173738"/>
                      </a:moveTo>
                      <a:lnTo>
                        <a:pt x="301749" y="923544"/>
                      </a:lnTo>
                      <a:lnTo>
                        <a:pt x="77721" y="835154"/>
                      </a:lnTo>
                      <a:lnTo>
                        <a:pt x="0" y="679703"/>
                      </a:lnTo>
                      <a:lnTo>
                        <a:pt x="3278121" y="0"/>
                      </a:lnTo>
                      <a:close/>
                    </a:path>
                  </a:pathLst>
                </a:custGeom>
                <a:solidFill>
                  <a:schemeClr val="bg1">
                    <a:lumMod val="75000"/>
                  </a:schemeClr>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0" name="Graphic 2">
                  <a:extLst>
                    <a:ext uri="{FF2B5EF4-FFF2-40B4-BE49-F238E27FC236}">
                      <a16:creationId xmlns:a16="http://schemas.microsoft.com/office/drawing/2014/main" id="{FCE1FCBB-55BA-4AE8-9882-63B134A1B752}"/>
                    </a:ext>
                  </a:extLst>
                </p:cNvPr>
                <p:cNvSpPr/>
                <p:nvPr/>
              </p:nvSpPr>
              <p:spPr>
                <a:xfrm>
                  <a:off x="8012048" y="3233464"/>
                  <a:ext cx="34661" cy="17164"/>
                </a:xfrm>
                <a:custGeom>
                  <a:avLst/>
                  <a:gdLst>
                    <a:gd name="connsiteX0" fmla="*/ 0 w 633984"/>
                    <a:gd name="connsiteY0" fmla="*/ 0 h 313943"/>
                    <a:gd name="connsiteX1" fmla="*/ 0 w 633984"/>
                    <a:gd name="connsiteY1" fmla="*/ 53341 h 313943"/>
                    <a:gd name="connsiteX2" fmla="*/ 0 w 633984"/>
                    <a:gd name="connsiteY2" fmla="*/ 86869 h 313943"/>
                    <a:gd name="connsiteX3" fmla="*/ 0 w 633984"/>
                    <a:gd name="connsiteY3" fmla="*/ 102105 h 313943"/>
                    <a:gd name="connsiteX4" fmla="*/ 0 w 633984"/>
                    <a:gd name="connsiteY4" fmla="*/ 140205 h 313943"/>
                    <a:gd name="connsiteX5" fmla="*/ 0 w 633984"/>
                    <a:gd name="connsiteY5" fmla="*/ 188975 h 313943"/>
                    <a:gd name="connsiteX6" fmla="*/ 166120 w 633984"/>
                    <a:gd name="connsiteY6" fmla="*/ 228600 h 313943"/>
                    <a:gd name="connsiteX7" fmla="*/ 166120 w 633984"/>
                    <a:gd name="connsiteY7" fmla="*/ 243841 h 313943"/>
                    <a:gd name="connsiteX8" fmla="*/ 166120 w 633984"/>
                    <a:gd name="connsiteY8" fmla="*/ 251459 h 313943"/>
                    <a:gd name="connsiteX9" fmla="*/ 166120 w 633984"/>
                    <a:gd name="connsiteY9" fmla="*/ 269746 h 313943"/>
                    <a:gd name="connsiteX10" fmla="*/ 166120 w 633984"/>
                    <a:gd name="connsiteY10" fmla="*/ 292605 h 313943"/>
                    <a:gd name="connsiteX11" fmla="*/ 316995 w 633984"/>
                    <a:gd name="connsiteY11" fmla="*/ 313944 h 313943"/>
                    <a:gd name="connsiteX12" fmla="*/ 467869 w 633984"/>
                    <a:gd name="connsiteY12" fmla="*/ 292605 h 313943"/>
                    <a:gd name="connsiteX13" fmla="*/ 467869 w 633984"/>
                    <a:gd name="connsiteY13" fmla="*/ 269746 h 313943"/>
                    <a:gd name="connsiteX14" fmla="*/ 467869 w 633984"/>
                    <a:gd name="connsiteY14" fmla="*/ 251459 h 313943"/>
                    <a:gd name="connsiteX15" fmla="*/ 467869 w 633984"/>
                    <a:gd name="connsiteY15" fmla="*/ 243841 h 313943"/>
                    <a:gd name="connsiteX16" fmla="*/ 467869 w 633984"/>
                    <a:gd name="connsiteY16" fmla="*/ 228600 h 313943"/>
                    <a:gd name="connsiteX17" fmla="*/ 633985 w 633984"/>
                    <a:gd name="connsiteY17" fmla="*/ 188975 h 313943"/>
                    <a:gd name="connsiteX18" fmla="*/ 633985 w 633984"/>
                    <a:gd name="connsiteY18" fmla="*/ 140205 h 313943"/>
                    <a:gd name="connsiteX19" fmla="*/ 633985 w 633984"/>
                    <a:gd name="connsiteY19" fmla="*/ 102105 h 313943"/>
                    <a:gd name="connsiteX20" fmla="*/ 633985 w 633984"/>
                    <a:gd name="connsiteY20" fmla="*/ 86869 h 313943"/>
                    <a:gd name="connsiteX21" fmla="*/ 633985 w 633984"/>
                    <a:gd name="connsiteY21" fmla="*/ 53341 h 313943"/>
                    <a:gd name="connsiteX22" fmla="*/ 633985 w 633984"/>
                    <a:gd name="connsiteY22" fmla="*/ 0 h 313943"/>
                    <a:gd name="connsiteX23" fmla="*/ 0 w 633984"/>
                    <a:gd name="connsiteY23" fmla="*/ 0 h 31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984" h="313943">
                      <a:moveTo>
                        <a:pt x="0" y="0"/>
                      </a:moveTo>
                      <a:lnTo>
                        <a:pt x="0" y="53341"/>
                      </a:lnTo>
                      <a:lnTo>
                        <a:pt x="0" y="86869"/>
                      </a:lnTo>
                      <a:lnTo>
                        <a:pt x="0" y="102105"/>
                      </a:lnTo>
                      <a:lnTo>
                        <a:pt x="0" y="140205"/>
                      </a:lnTo>
                      <a:lnTo>
                        <a:pt x="0" y="188975"/>
                      </a:lnTo>
                      <a:cubicBezTo>
                        <a:pt x="0" y="205741"/>
                        <a:pt x="67056" y="220977"/>
                        <a:pt x="166120" y="228600"/>
                      </a:cubicBezTo>
                      <a:lnTo>
                        <a:pt x="166120" y="243841"/>
                      </a:lnTo>
                      <a:lnTo>
                        <a:pt x="166120" y="251459"/>
                      </a:lnTo>
                      <a:lnTo>
                        <a:pt x="166120" y="269746"/>
                      </a:lnTo>
                      <a:lnTo>
                        <a:pt x="166120" y="292605"/>
                      </a:lnTo>
                      <a:cubicBezTo>
                        <a:pt x="166120" y="304800"/>
                        <a:pt x="233172" y="313944"/>
                        <a:pt x="316995" y="313944"/>
                      </a:cubicBezTo>
                      <a:cubicBezTo>
                        <a:pt x="400813" y="313944"/>
                        <a:pt x="467869" y="304800"/>
                        <a:pt x="467869" y="292605"/>
                      </a:cubicBezTo>
                      <a:lnTo>
                        <a:pt x="467869" y="269746"/>
                      </a:lnTo>
                      <a:lnTo>
                        <a:pt x="467869" y="251459"/>
                      </a:lnTo>
                      <a:lnTo>
                        <a:pt x="467869" y="243841"/>
                      </a:lnTo>
                      <a:lnTo>
                        <a:pt x="467869" y="228600"/>
                      </a:lnTo>
                      <a:cubicBezTo>
                        <a:pt x="566928" y="220977"/>
                        <a:pt x="633985" y="205741"/>
                        <a:pt x="633985" y="188975"/>
                      </a:cubicBezTo>
                      <a:lnTo>
                        <a:pt x="633985" y="140205"/>
                      </a:lnTo>
                      <a:lnTo>
                        <a:pt x="633985" y="102105"/>
                      </a:lnTo>
                      <a:lnTo>
                        <a:pt x="633985" y="86869"/>
                      </a:lnTo>
                      <a:lnTo>
                        <a:pt x="633985" y="53341"/>
                      </a:lnTo>
                      <a:lnTo>
                        <a:pt x="633985"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1" name="Graphic 2">
                  <a:extLst>
                    <a:ext uri="{FF2B5EF4-FFF2-40B4-BE49-F238E27FC236}">
                      <a16:creationId xmlns:a16="http://schemas.microsoft.com/office/drawing/2014/main" id="{2CD3A2C8-C78A-4A0D-BBDA-1DF9FD42290D}"/>
                    </a:ext>
                  </a:extLst>
                </p:cNvPr>
                <p:cNvSpPr/>
                <p:nvPr/>
              </p:nvSpPr>
              <p:spPr>
                <a:xfrm>
                  <a:off x="8011965" y="3231048"/>
                  <a:ext cx="34661" cy="4833"/>
                </a:xfrm>
                <a:custGeom>
                  <a:avLst/>
                  <a:gdLst>
                    <a:gd name="connsiteX0" fmla="*/ 633986 w 633983"/>
                    <a:gd name="connsiteY0" fmla="*/ 44197 h 88392"/>
                    <a:gd name="connsiteX1" fmla="*/ 316996 w 633983"/>
                    <a:gd name="connsiteY1" fmla="*/ 88394 h 88392"/>
                    <a:gd name="connsiteX2" fmla="*/ 6 w 633983"/>
                    <a:gd name="connsiteY2" fmla="*/ 44197 h 88392"/>
                    <a:gd name="connsiteX3" fmla="*/ 316996 w 633983"/>
                    <a:gd name="connsiteY3" fmla="*/ -1 h 88392"/>
                    <a:gd name="connsiteX4" fmla="*/ 633986 w 633983"/>
                    <a:gd name="connsiteY4" fmla="*/ 44197 h 8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983" h="88392">
                      <a:moveTo>
                        <a:pt x="633986" y="44197"/>
                      </a:moveTo>
                      <a:cubicBezTo>
                        <a:pt x="633986" y="68605"/>
                        <a:pt x="492064" y="88394"/>
                        <a:pt x="316996" y="88394"/>
                      </a:cubicBezTo>
                      <a:cubicBezTo>
                        <a:pt x="141927" y="88394"/>
                        <a:pt x="6" y="68605"/>
                        <a:pt x="6" y="44197"/>
                      </a:cubicBezTo>
                      <a:cubicBezTo>
                        <a:pt x="6" y="19789"/>
                        <a:pt x="141927" y="-1"/>
                        <a:pt x="316996" y="-1"/>
                      </a:cubicBezTo>
                      <a:cubicBezTo>
                        <a:pt x="492064" y="-1"/>
                        <a:pt x="633986" y="19789"/>
                        <a:pt x="633986" y="44197"/>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2" name="Graphic 2">
                  <a:extLst>
                    <a:ext uri="{FF2B5EF4-FFF2-40B4-BE49-F238E27FC236}">
                      <a16:creationId xmlns:a16="http://schemas.microsoft.com/office/drawing/2014/main" id="{B2C05CE4-5A4D-4A29-9B8A-64E65992889E}"/>
                    </a:ext>
                  </a:extLst>
                </p:cNvPr>
                <p:cNvSpPr/>
                <p:nvPr/>
              </p:nvSpPr>
              <p:spPr>
                <a:xfrm>
                  <a:off x="7991135" y="3162308"/>
                  <a:ext cx="76487" cy="74072"/>
                </a:xfrm>
                <a:custGeom>
                  <a:avLst/>
                  <a:gdLst>
                    <a:gd name="connsiteX0" fmla="*/ 1397505 w 1399030"/>
                    <a:gd name="connsiteY0" fmla="*/ 0 h 1354838"/>
                    <a:gd name="connsiteX1" fmla="*/ 0 w 1399030"/>
                    <a:gd name="connsiteY1" fmla="*/ 0 h 1354838"/>
                    <a:gd name="connsiteX2" fmla="*/ 0 w 1399030"/>
                    <a:gd name="connsiteY2" fmla="*/ 1251203 h 1354838"/>
                    <a:gd name="connsiteX3" fmla="*/ 3046 w 1399030"/>
                    <a:gd name="connsiteY3" fmla="*/ 1251203 h 1354838"/>
                    <a:gd name="connsiteX4" fmla="*/ 0 w 1399030"/>
                    <a:gd name="connsiteY4" fmla="*/ 1255775 h 1354838"/>
                    <a:gd name="connsiteX5" fmla="*/ 699515 w 1399030"/>
                    <a:gd name="connsiteY5" fmla="*/ 1354838 h 1354838"/>
                    <a:gd name="connsiteX6" fmla="*/ 1399031 w 1399030"/>
                    <a:gd name="connsiteY6" fmla="*/ 1255775 h 1354838"/>
                    <a:gd name="connsiteX7" fmla="*/ 1394459 w 1399030"/>
                    <a:gd name="connsiteY7" fmla="*/ 1248156 h 1354838"/>
                    <a:gd name="connsiteX8" fmla="*/ 1399031 w 1399030"/>
                    <a:gd name="connsiteY8" fmla="*/ 1246631 h 1354838"/>
                    <a:gd name="connsiteX9" fmla="*/ 1399031 w 1399030"/>
                    <a:gd name="connsiteY9" fmla="*/ 0 h 135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9030" h="1354838">
                      <a:moveTo>
                        <a:pt x="1397505" y="0"/>
                      </a:moveTo>
                      <a:lnTo>
                        <a:pt x="0" y="0"/>
                      </a:lnTo>
                      <a:lnTo>
                        <a:pt x="0" y="1251203"/>
                      </a:lnTo>
                      <a:cubicBezTo>
                        <a:pt x="1521" y="1251203"/>
                        <a:pt x="1521" y="1251203"/>
                        <a:pt x="3046" y="1251203"/>
                      </a:cubicBezTo>
                      <a:cubicBezTo>
                        <a:pt x="3046" y="1252728"/>
                        <a:pt x="0" y="1254254"/>
                        <a:pt x="0" y="1255775"/>
                      </a:cubicBezTo>
                      <a:cubicBezTo>
                        <a:pt x="0" y="1310641"/>
                        <a:pt x="312418" y="1354838"/>
                        <a:pt x="699515" y="1354838"/>
                      </a:cubicBezTo>
                      <a:cubicBezTo>
                        <a:pt x="1086613" y="1354838"/>
                        <a:pt x="1399031" y="1310641"/>
                        <a:pt x="1399031" y="1255775"/>
                      </a:cubicBezTo>
                      <a:cubicBezTo>
                        <a:pt x="1399031" y="1252728"/>
                        <a:pt x="1394459" y="1251203"/>
                        <a:pt x="1394459" y="1248156"/>
                      </a:cubicBezTo>
                      <a:cubicBezTo>
                        <a:pt x="1395985" y="1248156"/>
                        <a:pt x="1397505" y="1248156"/>
                        <a:pt x="1399031" y="1246631"/>
                      </a:cubicBezTo>
                      <a:lnTo>
                        <a:pt x="1399031" y="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3" name="Graphic 2">
                  <a:extLst>
                    <a:ext uri="{FF2B5EF4-FFF2-40B4-BE49-F238E27FC236}">
                      <a16:creationId xmlns:a16="http://schemas.microsoft.com/office/drawing/2014/main" id="{7BD600FD-D593-4237-B8E2-B2DD043B139B}"/>
                    </a:ext>
                  </a:extLst>
                </p:cNvPr>
                <p:cNvSpPr/>
                <p:nvPr/>
              </p:nvSpPr>
              <p:spPr>
                <a:xfrm>
                  <a:off x="7985970" y="3149144"/>
                  <a:ext cx="86652" cy="18080"/>
                </a:xfrm>
                <a:custGeom>
                  <a:avLst/>
                  <a:gdLst>
                    <a:gd name="connsiteX0" fmla="*/ 0 w 1584959"/>
                    <a:gd name="connsiteY0" fmla="*/ 0 h 330705"/>
                    <a:gd name="connsiteX1" fmla="*/ 0 w 1584959"/>
                    <a:gd name="connsiteY1" fmla="*/ 219456 h 330705"/>
                    <a:gd name="connsiteX2" fmla="*/ 792477 w 1584959"/>
                    <a:gd name="connsiteY2" fmla="*/ 330705 h 330705"/>
                    <a:gd name="connsiteX3" fmla="*/ 1584959 w 1584959"/>
                    <a:gd name="connsiteY3" fmla="*/ 219456 h 330705"/>
                    <a:gd name="connsiteX4" fmla="*/ 1584959 w 1584959"/>
                    <a:gd name="connsiteY4" fmla="*/ 0 h 330705"/>
                    <a:gd name="connsiteX5" fmla="*/ 0 w 1584959"/>
                    <a:gd name="connsiteY5" fmla="*/ 0 h 33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4959" h="330705">
                      <a:moveTo>
                        <a:pt x="0" y="0"/>
                      </a:moveTo>
                      <a:lnTo>
                        <a:pt x="0" y="219456"/>
                      </a:lnTo>
                      <a:cubicBezTo>
                        <a:pt x="0" y="281936"/>
                        <a:pt x="355090" y="330705"/>
                        <a:pt x="792477" y="330705"/>
                      </a:cubicBezTo>
                      <a:cubicBezTo>
                        <a:pt x="1229865" y="330705"/>
                        <a:pt x="1584959" y="280415"/>
                        <a:pt x="1584959" y="219456"/>
                      </a:cubicBezTo>
                      <a:lnTo>
                        <a:pt x="1584959"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4" name="Graphic 2">
                  <a:extLst>
                    <a:ext uri="{FF2B5EF4-FFF2-40B4-BE49-F238E27FC236}">
                      <a16:creationId xmlns:a16="http://schemas.microsoft.com/office/drawing/2014/main" id="{6D455A25-A236-445F-AD22-54FB393BAAB9}"/>
                    </a:ext>
                  </a:extLst>
                </p:cNvPr>
                <p:cNvSpPr/>
                <p:nvPr/>
              </p:nvSpPr>
              <p:spPr>
                <a:xfrm>
                  <a:off x="7985969" y="3143061"/>
                  <a:ext cx="86652" cy="12165"/>
                </a:xfrm>
                <a:custGeom>
                  <a:avLst/>
                  <a:gdLst>
                    <a:gd name="connsiteX0" fmla="*/ 1584961 w 1584959"/>
                    <a:gd name="connsiteY0" fmla="*/ 111253 h 222504"/>
                    <a:gd name="connsiteX1" fmla="*/ 792479 w 1584959"/>
                    <a:gd name="connsiteY1" fmla="*/ 222507 h 222504"/>
                    <a:gd name="connsiteX2" fmla="*/ -3 w 1584959"/>
                    <a:gd name="connsiteY2" fmla="*/ 111253 h 222504"/>
                    <a:gd name="connsiteX3" fmla="*/ 792479 w 1584959"/>
                    <a:gd name="connsiteY3" fmla="*/ 0 h 222504"/>
                    <a:gd name="connsiteX4" fmla="*/ 1584961 w 1584959"/>
                    <a:gd name="connsiteY4" fmla="*/ 111253 h 22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959" h="222504">
                      <a:moveTo>
                        <a:pt x="1584961" y="111253"/>
                      </a:moveTo>
                      <a:cubicBezTo>
                        <a:pt x="1584961" y="172696"/>
                        <a:pt x="1230155" y="222507"/>
                        <a:pt x="792479" y="222507"/>
                      </a:cubicBezTo>
                      <a:cubicBezTo>
                        <a:pt x="354803" y="222507"/>
                        <a:pt x="-3" y="172696"/>
                        <a:pt x="-3" y="111253"/>
                      </a:cubicBezTo>
                      <a:cubicBezTo>
                        <a:pt x="-3" y="49811"/>
                        <a:pt x="354803" y="0"/>
                        <a:pt x="792479" y="0"/>
                      </a:cubicBezTo>
                      <a:cubicBezTo>
                        <a:pt x="1230155" y="0"/>
                        <a:pt x="1584961" y="49811"/>
                        <a:pt x="1584961" y="111253"/>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5" name="Graphic 2">
                  <a:extLst>
                    <a:ext uri="{FF2B5EF4-FFF2-40B4-BE49-F238E27FC236}">
                      <a16:creationId xmlns:a16="http://schemas.microsoft.com/office/drawing/2014/main" id="{3B224363-4742-4337-913E-008BF4DABAF3}"/>
                    </a:ext>
                  </a:extLst>
                </p:cNvPr>
                <p:cNvSpPr/>
                <p:nvPr/>
              </p:nvSpPr>
              <p:spPr>
                <a:xfrm>
                  <a:off x="8006716" y="3057908"/>
                  <a:ext cx="87735" cy="86653"/>
                </a:xfrm>
                <a:custGeom>
                  <a:avLst/>
                  <a:gdLst>
                    <a:gd name="connsiteX0" fmla="*/ 1118616 w 1604771"/>
                    <a:gd name="connsiteY0" fmla="*/ 1584959 h 1584959"/>
                    <a:gd name="connsiteX1" fmla="*/ 1118616 w 1604771"/>
                    <a:gd name="connsiteY1" fmla="*/ 573026 h 1584959"/>
                    <a:gd name="connsiteX2" fmla="*/ 1604772 w 1604771"/>
                    <a:gd name="connsiteY2" fmla="*/ 0 h 1584959"/>
                    <a:gd name="connsiteX3" fmla="*/ 0 w 1604771"/>
                    <a:gd name="connsiteY3" fmla="*/ 57913 h 1584959"/>
                    <a:gd name="connsiteX4" fmla="*/ 448056 w 1604771"/>
                    <a:gd name="connsiteY4" fmla="*/ 710185 h 1584959"/>
                    <a:gd name="connsiteX5" fmla="*/ 505969 w 1604771"/>
                    <a:gd name="connsiteY5" fmla="*/ 1584959 h 158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4771" h="1584959">
                      <a:moveTo>
                        <a:pt x="1118616" y="1584959"/>
                      </a:moveTo>
                      <a:lnTo>
                        <a:pt x="1118616" y="573026"/>
                      </a:lnTo>
                      <a:lnTo>
                        <a:pt x="1604772" y="0"/>
                      </a:lnTo>
                      <a:lnTo>
                        <a:pt x="0" y="57913"/>
                      </a:lnTo>
                      <a:lnTo>
                        <a:pt x="448056" y="710185"/>
                      </a:lnTo>
                      <a:lnTo>
                        <a:pt x="505969" y="1584959"/>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6" name="Graphic 2">
                  <a:extLst>
                    <a:ext uri="{FF2B5EF4-FFF2-40B4-BE49-F238E27FC236}">
                      <a16:creationId xmlns:a16="http://schemas.microsoft.com/office/drawing/2014/main" id="{806AB388-D72D-47AD-AD7C-C97040C39B4C}"/>
                    </a:ext>
                  </a:extLst>
                </p:cNvPr>
                <p:cNvSpPr/>
                <p:nvPr/>
              </p:nvSpPr>
              <p:spPr>
                <a:xfrm>
                  <a:off x="7966176" y="3061157"/>
                  <a:ext cx="68202" cy="86248"/>
                </a:xfrm>
                <a:custGeom>
                  <a:avLst/>
                  <a:gdLst>
                    <a:gd name="connsiteX0" fmla="*/ 0 w 1245110"/>
                    <a:gd name="connsiteY0" fmla="*/ 0 h 1588222"/>
                    <a:gd name="connsiteX1" fmla="*/ 632459 w 1245110"/>
                    <a:gd name="connsiteY1" fmla="*/ 652272 h 1588222"/>
                    <a:gd name="connsiteX2" fmla="*/ 534926 w 1245110"/>
                    <a:gd name="connsiteY2" fmla="*/ 1440177 h 1588222"/>
                    <a:gd name="connsiteX3" fmla="*/ 1245110 w 1245110"/>
                    <a:gd name="connsiteY3" fmla="*/ 1537716 h 1588222"/>
                    <a:gd name="connsiteX4" fmla="*/ 1187197 w 1245110"/>
                    <a:gd name="connsiteY4" fmla="*/ 662941 h 1588222"/>
                    <a:gd name="connsiteX5" fmla="*/ 739141 w 1245110"/>
                    <a:gd name="connsiteY5" fmla="*/ 10669 h 1588222"/>
                    <a:gd name="connsiteX6" fmla="*/ 0 w 1245110"/>
                    <a:gd name="connsiteY6" fmla="*/ 0 h 1588222"/>
                    <a:gd name="connsiteX0" fmla="*/ 0 w 1254635"/>
                    <a:gd name="connsiteY0" fmla="*/ 17906 h 1577553"/>
                    <a:gd name="connsiteX1" fmla="*/ 641984 w 1254635"/>
                    <a:gd name="connsiteY1" fmla="*/ 641603 h 1577553"/>
                    <a:gd name="connsiteX2" fmla="*/ 544451 w 1254635"/>
                    <a:gd name="connsiteY2" fmla="*/ 1429508 h 1577553"/>
                    <a:gd name="connsiteX3" fmla="*/ 1254635 w 1254635"/>
                    <a:gd name="connsiteY3" fmla="*/ 1527047 h 1577553"/>
                    <a:gd name="connsiteX4" fmla="*/ 1196722 w 1254635"/>
                    <a:gd name="connsiteY4" fmla="*/ 652272 h 1577553"/>
                    <a:gd name="connsiteX5" fmla="*/ 748666 w 1254635"/>
                    <a:gd name="connsiteY5" fmla="*/ 0 h 1577553"/>
                    <a:gd name="connsiteX6" fmla="*/ 0 w 1254635"/>
                    <a:gd name="connsiteY6" fmla="*/ 17906 h 1577553"/>
                    <a:gd name="connsiteX0" fmla="*/ 0 w 1237966"/>
                    <a:gd name="connsiteY0" fmla="*/ 27431 h 1577553"/>
                    <a:gd name="connsiteX1" fmla="*/ 625315 w 1237966"/>
                    <a:gd name="connsiteY1" fmla="*/ 641603 h 1577553"/>
                    <a:gd name="connsiteX2" fmla="*/ 527782 w 1237966"/>
                    <a:gd name="connsiteY2" fmla="*/ 1429508 h 1577553"/>
                    <a:gd name="connsiteX3" fmla="*/ 1237966 w 1237966"/>
                    <a:gd name="connsiteY3" fmla="*/ 1527047 h 1577553"/>
                    <a:gd name="connsiteX4" fmla="*/ 1180053 w 1237966"/>
                    <a:gd name="connsiteY4" fmla="*/ 652272 h 1577553"/>
                    <a:gd name="connsiteX5" fmla="*/ 731997 w 1237966"/>
                    <a:gd name="connsiteY5" fmla="*/ 0 h 1577553"/>
                    <a:gd name="connsiteX6" fmla="*/ 0 w 1237966"/>
                    <a:gd name="connsiteY6" fmla="*/ 27431 h 1577553"/>
                    <a:gd name="connsiteX0" fmla="*/ 0 w 1247491"/>
                    <a:gd name="connsiteY0" fmla="*/ 25050 h 1577553"/>
                    <a:gd name="connsiteX1" fmla="*/ 634840 w 1247491"/>
                    <a:gd name="connsiteY1" fmla="*/ 641603 h 1577553"/>
                    <a:gd name="connsiteX2" fmla="*/ 537307 w 1247491"/>
                    <a:gd name="connsiteY2" fmla="*/ 1429508 h 1577553"/>
                    <a:gd name="connsiteX3" fmla="*/ 1247491 w 1247491"/>
                    <a:gd name="connsiteY3" fmla="*/ 1527047 h 1577553"/>
                    <a:gd name="connsiteX4" fmla="*/ 1189578 w 1247491"/>
                    <a:gd name="connsiteY4" fmla="*/ 652272 h 1577553"/>
                    <a:gd name="connsiteX5" fmla="*/ 741522 w 1247491"/>
                    <a:gd name="connsiteY5" fmla="*/ 0 h 1577553"/>
                    <a:gd name="connsiteX6" fmla="*/ 0 w 1247491"/>
                    <a:gd name="connsiteY6" fmla="*/ 25050 h 157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7491" h="1577553">
                      <a:moveTo>
                        <a:pt x="0" y="25050"/>
                      </a:moveTo>
                      <a:cubicBezTo>
                        <a:pt x="210820" y="242474"/>
                        <a:pt x="424020" y="424179"/>
                        <a:pt x="634840" y="641603"/>
                      </a:cubicBezTo>
                      <a:cubicBezTo>
                        <a:pt x="634840" y="641603"/>
                        <a:pt x="148684" y="963165"/>
                        <a:pt x="537307" y="1429508"/>
                      </a:cubicBezTo>
                      <a:cubicBezTo>
                        <a:pt x="537307" y="1429508"/>
                        <a:pt x="761335" y="1682493"/>
                        <a:pt x="1247491" y="1527047"/>
                      </a:cubicBezTo>
                      <a:lnTo>
                        <a:pt x="1189578" y="652272"/>
                      </a:lnTo>
                      <a:lnTo>
                        <a:pt x="741522" y="0"/>
                      </a:lnTo>
                      <a:lnTo>
                        <a:pt x="0" y="2505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7" name="Graphic 2">
                  <a:extLst>
                    <a:ext uri="{FF2B5EF4-FFF2-40B4-BE49-F238E27FC236}">
                      <a16:creationId xmlns:a16="http://schemas.microsoft.com/office/drawing/2014/main" id="{9A124C9B-EB53-4282-9326-493C3DD52E01}"/>
                    </a:ext>
                  </a:extLst>
                </p:cNvPr>
                <p:cNvSpPr/>
                <p:nvPr/>
              </p:nvSpPr>
              <p:spPr>
                <a:xfrm>
                  <a:off x="8007480" y="3040327"/>
                  <a:ext cx="93567" cy="21830"/>
                </a:xfrm>
                <a:custGeom>
                  <a:avLst/>
                  <a:gdLst>
                    <a:gd name="connsiteX0" fmla="*/ 1711454 w 1711453"/>
                    <a:gd name="connsiteY0" fmla="*/ 321564 h 399289"/>
                    <a:gd name="connsiteX1" fmla="*/ 1711454 w 1711453"/>
                    <a:gd name="connsiteY1" fmla="*/ 0 h 399289"/>
                    <a:gd name="connsiteX2" fmla="*/ 0 w 1711453"/>
                    <a:gd name="connsiteY2" fmla="*/ 68580 h 399289"/>
                    <a:gd name="connsiteX3" fmla="*/ 0 w 1711453"/>
                    <a:gd name="connsiteY3" fmla="*/ 399290 h 399289"/>
                  </a:gdLst>
                  <a:ahLst/>
                  <a:cxnLst>
                    <a:cxn ang="0">
                      <a:pos x="connsiteX0" y="connsiteY0"/>
                    </a:cxn>
                    <a:cxn ang="0">
                      <a:pos x="connsiteX1" y="connsiteY1"/>
                    </a:cxn>
                    <a:cxn ang="0">
                      <a:pos x="connsiteX2" y="connsiteY2"/>
                    </a:cxn>
                    <a:cxn ang="0">
                      <a:pos x="connsiteX3" y="connsiteY3"/>
                    </a:cxn>
                  </a:cxnLst>
                  <a:rect l="l" t="t" r="r" b="b"/>
                  <a:pathLst>
                    <a:path w="1711453" h="399289">
                      <a:moveTo>
                        <a:pt x="1711454" y="321564"/>
                      </a:moveTo>
                      <a:lnTo>
                        <a:pt x="1711454" y="0"/>
                      </a:lnTo>
                      <a:lnTo>
                        <a:pt x="0" y="68580"/>
                      </a:lnTo>
                      <a:lnTo>
                        <a:pt x="0" y="39929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8" name="Graphic 2">
                  <a:extLst>
                    <a:ext uri="{FF2B5EF4-FFF2-40B4-BE49-F238E27FC236}">
                      <a16:creationId xmlns:a16="http://schemas.microsoft.com/office/drawing/2014/main" id="{985A69DE-B84C-41E5-9BB9-CB7271B26C37}"/>
                    </a:ext>
                  </a:extLst>
                </p:cNvPr>
                <p:cNvSpPr/>
                <p:nvPr/>
              </p:nvSpPr>
              <p:spPr>
                <a:xfrm>
                  <a:off x="7966251" y="3046333"/>
                  <a:ext cx="41229" cy="16456"/>
                </a:xfrm>
                <a:custGeom>
                  <a:avLst/>
                  <a:gdLst>
                    <a:gd name="connsiteX0" fmla="*/ 0 w 739136"/>
                    <a:gd name="connsiteY0" fmla="*/ 97538 h 339853"/>
                    <a:gd name="connsiteX1" fmla="*/ 0 w 739136"/>
                    <a:gd name="connsiteY1" fmla="*/ 339854 h 339853"/>
                    <a:gd name="connsiteX2" fmla="*/ 739136 w 739136"/>
                    <a:gd name="connsiteY2" fmla="*/ 330710 h 339853"/>
                    <a:gd name="connsiteX3" fmla="*/ 739136 w 739136"/>
                    <a:gd name="connsiteY3" fmla="*/ 0 h 339853"/>
                  </a:gdLst>
                  <a:ahLst/>
                  <a:cxnLst>
                    <a:cxn ang="0">
                      <a:pos x="connsiteX0" y="connsiteY0"/>
                    </a:cxn>
                    <a:cxn ang="0">
                      <a:pos x="connsiteX1" y="connsiteY1"/>
                    </a:cxn>
                    <a:cxn ang="0">
                      <a:pos x="connsiteX2" y="connsiteY2"/>
                    </a:cxn>
                    <a:cxn ang="0">
                      <a:pos x="connsiteX3" y="connsiteY3"/>
                    </a:cxn>
                  </a:cxnLst>
                  <a:rect l="l" t="t" r="r" b="b"/>
                  <a:pathLst>
                    <a:path w="739136" h="339853">
                      <a:moveTo>
                        <a:pt x="0" y="97538"/>
                      </a:moveTo>
                      <a:lnTo>
                        <a:pt x="0" y="339854"/>
                      </a:lnTo>
                      <a:lnTo>
                        <a:pt x="739136" y="330710"/>
                      </a:lnTo>
                      <a:lnTo>
                        <a:pt x="739136"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19" name="Graphic 2">
                  <a:extLst>
                    <a:ext uri="{FF2B5EF4-FFF2-40B4-BE49-F238E27FC236}">
                      <a16:creationId xmlns:a16="http://schemas.microsoft.com/office/drawing/2014/main" id="{EEBFC480-99E5-4DB4-9146-3F8181DB955A}"/>
                    </a:ext>
                  </a:extLst>
                </p:cNvPr>
                <p:cNvSpPr/>
                <p:nvPr/>
              </p:nvSpPr>
              <p:spPr>
                <a:xfrm>
                  <a:off x="7991719" y="3107317"/>
                  <a:ext cx="36994" cy="43493"/>
                </a:xfrm>
                <a:custGeom>
                  <a:avLst/>
                  <a:gdLst>
                    <a:gd name="connsiteX0" fmla="*/ 676654 w 676656"/>
                    <a:gd name="connsiteY0" fmla="*/ 397765 h 795528"/>
                    <a:gd name="connsiteX1" fmla="*/ 338326 w 676656"/>
                    <a:gd name="connsiteY1" fmla="*/ 795527 h 795528"/>
                    <a:gd name="connsiteX2" fmla="*/ -2 w 676656"/>
                    <a:gd name="connsiteY2" fmla="*/ 397765 h 795528"/>
                    <a:gd name="connsiteX3" fmla="*/ 338326 w 676656"/>
                    <a:gd name="connsiteY3" fmla="*/ 3 h 795528"/>
                    <a:gd name="connsiteX4" fmla="*/ 676654 w 676656"/>
                    <a:gd name="connsiteY4" fmla="*/ 397765 h 79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656" h="795528">
                      <a:moveTo>
                        <a:pt x="676654" y="397765"/>
                      </a:moveTo>
                      <a:cubicBezTo>
                        <a:pt x="676654" y="617445"/>
                        <a:pt x="525180" y="795527"/>
                        <a:pt x="338326" y="795527"/>
                      </a:cubicBezTo>
                      <a:cubicBezTo>
                        <a:pt x="151472" y="795527"/>
                        <a:pt x="-2" y="617440"/>
                        <a:pt x="-2" y="397765"/>
                      </a:cubicBezTo>
                      <a:cubicBezTo>
                        <a:pt x="-2" y="178085"/>
                        <a:pt x="151472" y="3"/>
                        <a:pt x="338326" y="3"/>
                      </a:cubicBezTo>
                      <a:cubicBezTo>
                        <a:pt x="525180" y="3"/>
                        <a:pt x="676654" y="178090"/>
                        <a:pt x="676654" y="397765"/>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0" name="Graphic 2">
                  <a:extLst>
                    <a:ext uri="{FF2B5EF4-FFF2-40B4-BE49-F238E27FC236}">
                      <a16:creationId xmlns:a16="http://schemas.microsoft.com/office/drawing/2014/main" id="{7ED4CE87-72D7-4CE8-B1C0-4A359E3066BC}"/>
                    </a:ext>
                  </a:extLst>
                </p:cNvPr>
                <p:cNvSpPr/>
                <p:nvPr/>
              </p:nvSpPr>
              <p:spPr>
                <a:xfrm>
                  <a:off x="7998301" y="3109983"/>
                  <a:ext cx="31828" cy="37328"/>
                </a:xfrm>
                <a:custGeom>
                  <a:avLst/>
                  <a:gdLst>
                    <a:gd name="connsiteX0" fmla="*/ 582168 w 582168"/>
                    <a:gd name="connsiteY0" fmla="*/ 341374 h 682752"/>
                    <a:gd name="connsiteX1" fmla="*/ 291083 w 582168"/>
                    <a:gd name="connsiteY1" fmla="*/ 682749 h 682752"/>
                    <a:gd name="connsiteX2" fmla="*/ -1 w 582168"/>
                    <a:gd name="connsiteY2" fmla="*/ 341374 h 682752"/>
                    <a:gd name="connsiteX3" fmla="*/ 291083 w 582168"/>
                    <a:gd name="connsiteY3" fmla="*/ 0 h 682752"/>
                    <a:gd name="connsiteX4" fmla="*/ 582168 w 582168"/>
                    <a:gd name="connsiteY4" fmla="*/ 341374 h 682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168" h="682752">
                      <a:moveTo>
                        <a:pt x="582168" y="341374"/>
                      </a:moveTo>
                      <a:cubicBezTo>
                        <a:pt x="582168" y="529912"/>
                        <a:pt x="451846" y="682749"/>
                        <a:pt x="291083" y="682749"/>
                      </a:cubicBezTo>
                      <a:cubicBezTo>
                        <a:pt x="130321" y="682749"/>
                        <a:pt x="-1" y="529912"/>
                        <a:pt x="-1" y="341374"/>
                      </a:cubicBezTo>
                      <a:cubicBezTo>
                        <a:pt x="-1" y="152837"/>
                        <a:pt x="130321" y="0"/>
                        <a:pt x="291083" y="0"/>
                      </a:cubicBezTo>
                      <a:cubicBezTo>
                        <a:pt x="451846" y="0"/>
                        <a:pt x="582168" y="152837"/>
                        <a:pt x="582168" y="341374"/>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1" name="Graphic 2">
                  <a:extLst>
                    <a:ext uri="{FF2B5EF4-FFF2-40B4-BE49-F238E27FC236}">
                      <a16:creationId xmlns:a16="http://schemas.microsoft.com/office/drawing/2014/main" id="{05BB6D22-A1BE-45EF-AC76-8C847FBA69CC}"/>
                    </a:ext>
                  </a:extLst>
                </p:cNvPr>
                <p:cNvSpPr/>
                <p:nvPr/>
              </p:nvSpPr>
              <p:spPr>
                <a:xfrm>
                  <a:off x="8029545" y="3101484"/>
                  <a:ext cx="43992" cy="51659"/>
                </a:xfrm>
                <a:custGeom>
                  <a:avLst/>
                  <a:gdLst>
                    <a:gd name="connsiteX0" fmla="*/ 804671 w 804671"/>
                    <a:gd name="connsiteY0" fmla="*/ 472442 h 944880"/>
                    <a:gd name="connsiteX1" fmla="*/ 402332 w 804671"/>
                    <a:gd name="connsiteY1" fmla="*/ 944883 h 944880"/>
                    <a:gd name="connsiteX2" fmla="*/ -6 w 804671"/>
                    <a:gd name="connsiteY2" fmla="*/ 472442 h 944880"/>
                    <a:gd name="connsiteX3" fmla="*/ 402332 w 804671"/>
                    <a:gd name="connsiteY3" fmla="*/ 1 h 944880"/>
                    <a:gd name="connsiteX4" fmla="*/ 804671 w 804671"/>
                    <a:gd name="connsiteY4" fmla="*/ 472442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671" h="944880">
                      <a:moveTo>
                        <a:pt x="804671" y="472442"/>
                      </a:moveTo>
                      <a:cubicBezTo>
                        <a:pt x="804671" y="733366"/>
                        <a:pt x="624538" y="944883"/>
                        <a:pt x="402332" y="944883"/>
                      </a:cubicBezTo>
                      <a:cubicBezTo>
                        <a:pt x="180127" y="944883"/>
                        <a:pt x="-6" y="733366"/>
                        <a:pt x="-6" y="472442"/>
                      </a:cubicBezTo>
                      <a:cubicBezTo>
                        <a:pt x="-6" y="211519"/>
                        <a:pt x="180127" y="1"/>
                        <a:pt x="402332" y="1"/>
                      </a:cubicBezTo>
                      <a:cubicBezTo>
                        <a:pt x="624538" y="1"/>
                        <a:pt x="804671" y="211519"/>
                        <a:pt x="804671" y="472442"/>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2" name="Graphic 2">
                  <a:extLst>
                    <a:ext uri="{FF2B5EF4-FFF2-40B4-BE49-F238E27FC236}">
                      <a16:creationId xmlns:a16="http://schemas.microsoft.com/office/drawing/2014/main" id="{A1976017-16B3-4734-8818-2F045D28687B}"/>
                    </a:ext>
                  </a:extLst>
                </p:cNvPr>
                <p:cNvSpPr/>
                <p:nvPr/>
              </p:nvSpPr>
              <p:spPr>
                <a:xfrm>
                  <a:off x="8037461" y="3104567"/>
                  <a:ext cx="37827" cy="44327"/>
                </a:xfrm>
                <a:custGeom>
                  <a:avLst/>
                  <a:gdLst>
                    <a:gd name="connsiteX0" fmla="*/ 691898 w 691895"/>
                    <a:gd name="connsiteY0" fmla="*/ 405385 h 810768"/>
                    <a:gd name="connsiteX1" fmla="*/ 345952 w 691895"/>
                    <a:gd name="connsiteY1" fmla="*/ 810770 h 810768"/>
                    <a:gd name="connsiteX2" fmla="*/ 5 w 691895"/>
                    <a:gd name="connsiteY2" fmla="*/ 405385 h 810768"/>
                    <a:gd name="connsiteX3" fmla="*/ 345952 w 691895"/>
                    <a:gd name="connsiteY3" fmla="*/ 1 h 810768"/>
                    <a:gd name="connsiteX4" fmla="*/ 691898 w 691895"/>
                    <a:gd name="connsiteY4" fmla="*/ 405385 h 81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895" h="810768">
                      <a:moveTo>
                        <a:pt x="691898" y="405385"/>
                      </a:moveTo>
                      <a:cubicBezTo>
                        <a:pt x="691898" y="629274"/>
                        <a:pt x="537010" y="810770"/>
                        <a:pt x="345952" y="810770"/>
                      </a:cubicBezTo>
                      <a:cubicBezTo>
                        <a:pt x="154889" y="810770"/>
                        <a:pt x="5" y="629274"/>
                        <a:pt x="5" y="405385"/>
                      </a:cubicBezTo>
                      <a:cubicBezTo>
                        <a:pt x="5" y="181496"/>
                        <a:pt x="154894" y="1"/>
                        <a:pt x="345952" y="1"/>
                      </a:cubicBezTo>
                      <a:cubicBezTo>
                        <a:pt x="537015" y="1"/>
                        <a:pt x="691898" y="181496"/>
                        <a:pt x="691898" y="405385"/>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3" name="Graphic 2">
                  <a:extLst>
                    <a:ext uri="{FF2B5EF4-FFF2-40B4-BE49-F238E27FC236}">
                      <a16:creationId xmlns:a16="http://schemas.microsoft.com/office/drawing/2014/main" id="{11BE25F2-6EA5-4746-906D-0A232C50CBC8}"/>
                    </a:ext>
                  </a:extLst>
                </p:cNvPr>
                <p:cNvSpPr/>
                <p:nvPr/>
              </p:nvSpPr>
              <p:spPr>
                <a:xfrm>
                  <a:off x="7767253" y="2839343"/>
                  <a:ext cx="107239" cy="85085"/>
                </a:xfrm>
                <a:custGeom>
                  <a:avLst/>
                  <a:gdLst>
                    <a:gd name="connsiteX0" fmla="*/ 557848 w 1961526"/>
                    <a:gd name="connsiteY0" fmla="*/ 1556276 h 1556275"/>
                    <a:gd name="connsiteX1" fmla="*/ 167705 w 1961526"/>
                    <a:gd name="connsiteY1" fmla="*/ 1556276 h 1556275"/>
                    <a:gd name="connsiteX2" fmla="*/ 79315 w 1961526"/>
                    <a:gd name="connsiteY2" fmla="*/ 1490745 h 1556275"/>
                    <a:gd name="connsiteX3" fmla="*/ 399356 w 1961526"/>
                    <a:gd name="connsiteY3" fmla="*/ 96286 h 1556275"/>
                    <a:gd name="connsiteX4" fmla="*/ 425261 w 1961526"/>
                    <a:gd name="connsiteY4" fmla="*/ 84093 h 1556275"/>
                    <a:gd name="connsiteX5" fmla="*/ 1950786 w 1961526"/>
                    <a:gd name="connsiteY5" fmla="*/ 512337 h 1556275"/>
                    <a:gd name="connsiteX6" fmla="*/ 1920305 w 1961526"/>
                    <a:gd name="connsiteY6" fmla="*/ 631209 h 1556275"/>
                    <a:gd name="connsiteX7" fmla="*/ 609668 w 1961526"/>
                    <a:gd name="connsiteY7" fmla="*/ 1541037 h 1556275"/>
                    <a:gd name="connsiteX8" fmla="*/ 557848 w 1961526"/>
                    <a:gd name="connsiteY8" fmla="*/ 1556276 h 155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1526" h="1556275">
                      <a:moveTo>
                        <a:pt x="557848" y="1556276"/>
                      </a:moveTo>
                      <a:lnTo>
                        <a:pt x="167705" y="1556276"/>
                      </a:lnTo>
                      <a:cubicBezTo>
                        <a:pt x="126558" y="1556276"/>
                        <a:pt x="89984" y="1530368"/>
                        <a:pt x="79315" y="1490745"/>
                      </a:cubicBezTo>
                      <a:cubicBezTo>
                        <a:pt x="12258" y="1260622"/>
                        <a:pt x="-163001" y="478809"/>
                        <a:pt x="399356" y="96286"/>
                      </a:cubicBezTo>
                      <a:cubicBezTo>
                        <a:pt x="406974" y="90188"/>
                        <a:pt x="416117" y="87140"/>
                        <a:pt x="425261" y="84093"/>
                      </a:cubicBezTo>
                      <a:cubicBezTo>
                        <a:pt x="553276" y="44468"/>
                        <a:pt x="1542356" y="-235948"/>
                        <a:pt x="1950786" y="512337"/>
                      </a:cubicBezTo>
                      <a:cubicBezTo>
                        <a:pt x="1973646" y="553486"/>
                        <a:pt x="1958405" y="605301"/>
                        <a:pt x="1920305" y="631209"/>
                      </a:cubicBezTo>
                      <a:lnTo>
                        <a:pt x="609668" y="1541037"/>
                      </a:lnTo>
                      <a:cubicBezTo>
                        <a:pt x="594427" y="1550181"/>
                        <a:pt x="576140" y="1556276"/>
                        <a:pt x="557848" y="1556276"/>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4" name="Graphic 2">
                  <a:extLst>
                    <a:ext uri="{FF2B5EF4-FFF2-40B4-BE49-F238E27FC236}">
                      <a16:creationId xmlns:a16="http://schemas.microsoft.com/office/drawing/2014/main" id="{64FE1872-79E7-41D4-B552-2B1F34629C84}"/>
                    </a:ext>
                  </a:extLst>
                </p:cNvPr>
                <p:cNvSpPr/>
                <p:nvPr/>
              </p:nvSpPr>
              <p:spPr>
                <a:xfrm>
                  <a:off x="7855992" y="2857772"/>
                  <a:ext cx="318629" cy="200719"/>
                </a:xfrm>
                <a:custGeom>
                  <a:avLst/>
                  <a:gdLst>
                    <a:gd name="connsiteX0" fmla="*/ 4632959 w 5828083"/>
                    <a:gd name="connsiteY0" fmla="*/ 32005 h 3671317"/>
                    <a:gd name="connsiteX1" fmla="*/ 0 w 5828083"/>
                    <a:gd name="connsiteY1" fmla="*/ 0 h 3671317"/>
                    <a:gd name="connsiteX2" fmla="*/ 27431 w 5828083"/>
                    <a:gd name="connsiteY2" fmla="*/ 3671318 h 3671317"/>
                    <a:gd name="connsiteX3" fmla="*/ 4803647 w 5828083"/>
                    <a:gd name="connsiteY3" fmla="*/ 3451862 h 3671317"/>
                    <a:gd name="connsiteX4" fmla="*/ 5824728 w 5828083"/>
                    <a:gd name="connsiteY4" fmla="*/ 1687069 h 3671317"/>
                    <a:gd name="connsiteX5" fmla="*/ 4632959 w 5828083"/>
                    <a:gd name="connsiteY5" fmla="*/ 32005 h 367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8083" h="3671317">
                      <a:moveTo>
                        <a:pt x="4632959" y="32005"/>
                      </a:moveTo>
                      <a:lnTo>
                        <a:pt x="0" y="0"/>
                      </a:lnTo>
                      <a:lnTo>
                        <a:pt x="27431" y="3671318"/>
                      </a:lnTo>
                      <a:lnTo>
                        <a:pt x="4803647" y="3451862"/>
                      </a:lnTo>
                      <a:cubicBezTo>
                        <a:pt x="5414772" y="3421380"/>
                        <a:pt x="5871972" y="2630426"/>
                        <a:pt x="5824728" y="1687069"/>
                      </a:cubicBezTo>
                      <a:cubicBezTo>
                        <a:pt x="5777485" y="743713"/>
                        <a:pt x="5244085" y="1525"/>
                        <a:pt x="4632959" y="32005"/>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5" name="Graphic 2">
                  <a:extLst>
                    <a:ext uri="{FF2B5EF4-FFF2-40B4-BE49-F238E27FC236}">
                      <a16:creationId xmlns:a16="http://schemas.microsoft.com/office/drawing/2014/main" id="{75A1CCD3-3C45-4151-A20F-2D89A2FD6FDD}"/>
                    </a:ext>
                  </a:extLst>
                </p:cNvPr>
                <p:cNvSpPr/>
                <p:nvPr/>
              </p:nvSpPr>
              <p:spPr>
                <a:xfrm>
                  <a:off x="7787337" y="2857022"/>
                  <a:ext cx="128978" cy="202802"/>
                </a:xfrm>
                <a:custGeom>
                  <a:avLst/>
                  <a:gdLst>
                    <a:gd name="connsiteX0" fmla="*/ 2359152 w 2359152"/>
                    <a:gd name="connsiteY0" fmla="*/ 1854707 h 3709416"/>
                    <a:gd name="connsiteX1" fmla="*/ 1179577 w 2359152"/>
                    <a:gd name="connsiteY1" fmla="*/ 3709417 h 3709416"/>
                    <a:gd name="connsiteX2" fmla="*/ 2 w 2359152"/>
                    <a:gd name="connsiteY2" fmla="*/ 1854710 h 3709416"/>
                    <a:gd name="connsiteX3" fmla="*/ 1179577 w 2359152"/>
                    <a:gd name="connsiteY3" fmla="*/ 2 h 3709416"/>
                    <a:gd name="connsiteX4" fmla="*/ 2359152 w 2359152"/>
                    <a:gd name="connsiteY4" fmla="*/ 1854707 h 3709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9152" h="3709416">
                      <a:moveTo>
                        <a:pt x="2359152" y="1854707"/>
                      </a:moveTo>
                      <a:cubicBezTo>
                        <a:pt x="2359152" y="2879033"/>
                        <a:pt x="1831040" y="3709417"/>
                        <a:pt x="1179577" y="3709417"/>
                      </a:cubicBezTo>
                      <a:cubicBezTo>
                        <a:pt x="528114" y="3709417"/>
                        <a:pt x="2" y="2879036"/>
                        <a:pt x="2" y="1854710"/>
                      </a:cubicBezTo>
                      <a:cubicBezTo>
                        <a:pt x="2" y="830384"/>
                        <a:pt x="528114" y="2"/>
                        <a:pt x="1179577" y="2"/>
                      </a:cubicBezTo>
                      <a:cubicBezTo>
                        <a:pt x="1831040" y="2"/>
                        <a:pt x="2359152" y="830384"/>
                        <a:pt x="2359152" y="1854707"/>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6" name="Graphic 2">
                  <a:extLst>
                    <a:ext uri="{FF2B5EF4-FFF2-40B4-BE49-F238E27FC236}">
                      <a16:creationId xmlns:a16="http://schemas.microsoft.com/office/drawing/2014/main" id="{79BCFA2D-C664-41A7-AA44-49563073710A}"/>
                    </a:ext>
                  </a:extLst>
                </p:cNvPr>
                <p:cNvSpPr/>
                <p:nvPr/>
              </p:nvSpPr>
              <p:spPr>
                <a:xfrm>
                  <a:off x="7812749" y="2896016"/>
                  <a:ext cx="79486" cy="124814"/>
                </a:xfrm>
                <a:custGeom>
                  <a:avLst/>
                  <a:gdLst>
                    <a:gd name="connsiteX0" fmla="*/ 1453898 w 1453895"/>
                    <a:gd name="connsiteY0" fmla="*/ 1141475 h 2282952"/>
                    <a:gd name="connsiteX1" fmla="*/ 726952 w 1453895"/>
                    <a:gd name="connsiteY1" fmla="*/ 2282952 h 2282952"/>
                    <a:gd name="connsiteX2" fmla="*/ 5 w 1453895"/>
                    <a:gd name="connsiteY2" fmla="*/ 1141475 h 2282952"/>
                    <a:gd name="connsiteX3" fmla="*/ 726952 w 1453895"/>
                    <a:gd name="connsiteY3" fmla="*/ -2 h 2282952"/>
                    <a:gd name="connsiteX4" fmla="*/ 1453898 w 1453895"/>
                    <a:gd name="connsiteY4" fmla="*/ 1141475 h 2282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3895" h="2282952">
                      <a:moveTo>
                        <a:pt x="1453898" y="1141475"/>
                      </a:moveTo>
                      <a:cubicBezTo>
                        <a:pt x="1453898" y="1771895"/>
                        <a:pt x="1128434" y="2282952"/>
                        <a:pt x="726952" y="2282952"/>
                      </a:cubicBezTo>
                      <a:cubicBezTo>
                        <a:pt x="325469" y="2282952"/>
                        <a:pt x="5" y="1771895"/>
                        <a:pt x="5" y="1141475"/>
                      </a:cubicBezTo>
                      <a:cubicBezTo>
                        <a:pt x="5" y="511056"/>
                        <a:pt x="325469" y="-2"/>
                        <a:pt x="726952" y="-2"/>
                      </a:cubicBezTo>
                      <a:cubicBezTo>
                        <a:pt x="1128434" y="-2"/>
                        <a:pt x="1453898" y="511056"/>
                        <a:pt x="1453898" y="1141475"/>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7" name="Graphic 2">
                  <a:extLst>
                    <a:ext uri="{FF2B5EF4-FFF2-40B4-BE49-F238E27FC236}">
                      <a16:creationId xmlns:a16="http://schemas.microsoft.com/office/drawing/2014/main" id="{1CA8BC33-25D2-46DB-8492-F0E5E9F57DF9}"/>
                    </a:ext>
                  </a:extLst>
                </p:cNvPr>
                <p:cNvSpPr/>
                <p:nvPr/>
              </p:nvSpPr>
              <p:spPr>
                <a:xfrm>
                  <a:off x="7822331" y="2906014"/>
                  <a:ext cx="66655" cy="104817"/>
                </a:xfrm>
                <a:custGeom>
                  <a:avLst/>
                  <a:gdLst>
                    <a:gd name="connsiteX0" fmla="*/ 1219200 w 1219200"/>
                    <a:gd name="connsiteY0" fmla="*/ 958595 h 1917191"/>
                    <a:gd name="connsiteX1" fmla="*/ 609600 w 1219200"/>
                    <a:gd name="connsiteY1" fmla="*/ 1917190 h 1917191"/>
                    <a:gd name="connsiteX2" fmla="*/ 0 w 1219200"/>
                    <a:gd name="connsiteY2" fmla="*/ 958595 h 1917191"/>
                    <a:gd name="connsiteX3" fmla="*/ 609600 w 1219200"/>
                    <a:gd name="connsiteY3" fmla="*/ 0 h 1917191"/>
                    <a:gd name="connsiteX4" fmla="*/ 1219200 w 1219200"/>
                    <a:gd name="connsiteY4" fmla="*/ 958595 h 1917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917191">
                      <a:moveTo>
                        <a:pt x="1219200" y="958595"/>
                      </a:moveTo>
                      <a:cubicBezTo>
                        <a:pt x="1219200" y="1488014"/>
                        <a:pt x="946272" y="1917190"/>
                        <a:pt x="609600" y="1917190"/>
                      </a:cubicBezTo>
                      <a:cubicBezTo>
                        <a:pt x="272927" y="1917190"/>
                        <a:pt x="0" y="1488012"/>
                        <a:pt x="0" y="958595"/>
                      </a:cubicBezTo>
                      <a:cubicBezTo>
                        <a:pt x="0" y="429176"/>
                        <a:pt x="272927" y="0"/>
                        <a:pt x="609600" y="0"/>
                      </a:cubicBezTo>
                      <a:cubicBezTo>
                        <a:pt x="946272" y="0"/>
                        <a:pt x="1219200" y="429179"/>
                        <a:pt x="1219200" y="958595"/>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8" name="Graphic 2">
                  <a:extLst>
                    <a:ext uri="{FF2B5EF4-FFF2-40B4-BE49-F238E27FC236}">
                      <a16:creationId xmlns:a16="http://schemas.microsoft.com/office/drawing/2014/main" id="{33869349-E8FD-443D-A603-DDCEE2891AC3}"/>
                    </a:ext>
                  </a:extLst>
                </p:cNvPr>
                <p:cNvSpPr/>
                <p:nvPr/>
              </p:nvSpPr>
              <p:spPr>
                <a:xfrm>
                  <a:off x="7803334" y="2968755"/>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4"/>
                        <a:pt x="101728" y="152400"/>
                        <a:pt x="65535" y="152400"/>
                      </a:cubicBezTo>
                      <a:cubicBezTo>
                        <a:pt x="29342" y="152400"/>
                        <a:pt x="4" y="118284"/>
                        <a:pt x="4" y="76200"/>
                      </a:cubicBezTo>
                      <a:cubicBezTo>
                        <a:pt x="4" y="34117"/>
                        <a:pt x="29342" y="0"/>
                        <a:pt x="65535" y="0"/>
                      </a:cubicBezTo>
                      <a:cubicBezTo>
                        <a:pt x="101728" y="0"/>
                        <a:pt x="131066" y="34117"/>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29" name="Graphic 2">
                  <a:extLst>
                    <a:ext uri="{FF2B5EF4-FFF2-40B4-BE49-F238E27FC236}">
                      <a16:creationId xmlns:a16="http://schemas.microsoft.com/office/drawing/2014/main" id="{F6590A04-2897-485B-94AD-6DFCBA3EB337}"/>
                    </a:ext>
                  </a:extLst>
                </p:cNvPr>
                <p:cNvSpPr/>
                <p:nvPr/>
              </p:nvSpPr>
              <p:spPr>
                <a:xfrm>
                  <a:off x="7806583" y="2985919"/>
                  <a:ext cx="7165" cy="8332"/>
                </a:xfrm>
                <a:custGeom>
                  <a:avLst/>
                  <a:gdLst>
                    <a:gd name="connsiteX0" fmla="*/ 131064 w 131064"/>
                    <a:gd name="connsiteY0" fmla="*/ 76200 h 152400"/>
                    <a:gd name="connsiteX1" fmla="*/ 65533 w 131064"/>
                    <a:gd name="connsiteY1" fmla="*/ 152400 h 152400"/>
                    <a:gd name="connsiteX2" fmla="*/ 2 w 131064"/>
                    <a:gd name="connsiteY2" fmla="*/ 76200 h 152400"/>
                    <a:gd name="connsiteX3" fmla="*/ 65533 w 131064"/>
                    <a:gd name="connsiteY3" fmla="*/ 0 h 152400"/>
                    <a:gd name="connsiteX4" fmla="*/ 131064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4" y="76200"/>
                      </a:moveTo>
                      <a:cubicBezTo>
                        <a:pt x="131064" y="118283"/>
                        <a:pt x="101726" y="152400"/>
                        <a:pt x="65533" y="152400"/>
                      </a:cubicBezTo>
                      <a:cubicBezTo>
                        <a:pt x="29340" y="152400"/>
                        <a:pt x="2" y="118283"/>
                        <a:pt x="2" y="76200"/>
                      </a:cubicBezTo>
                      <a:cubicBezTo>
                        <a:pt x="2" y="34116"/>
                        <a:pt x="29340" y="0"/>
                        <a:pt x="65533" y="0"/>
                      </a:cubicBezTo>
                      <a:cubicBezTo>
                        <a:pt x="101726" y="0"/>
                        <a:pt x="131064" y="34116"/>
                        <a:pt x="131064"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0" name="Graphic 2">
                  <a:extLst>
                    <a:ext uri="{FF2B5EF4-FFF2-40B4-BE49-F238E27FC236}">
                      <a16:creationId xmlns:a16="http://schemas.microsoft.com/office/drawing/2014/main" id="{2059AEE0-0F36-4ABA-A58F-DB7022429617}"/>
                    </a:ext>
                  </a:extLst>
                </p:cNvPr>
                <p:cNvSpPr/>
                <p:nvPr/>
              </p:nvSpPr>
              <p:spPr>
                <a:xfrm>
                  <a:off x="7813832" y="3002833"/>
                  <a:ext cx="7165" cy="8332"/>
                </a:xfrm>
                <a:custGeom>
                  <a:avLst/>
                  <a:gdLst>
                    <a:gd name="connsiteX0" fmla="*/ 131063 w 131064"/>
                    <a:gd name="connsiteY0" fmla="*/ 76200 h 152400"/>
                    <a:gd name="connsiteX1" fmla="*/ 65532 w 131064"/>
                    <a:gd name="connsiteY1" fmla="*/ 152400 h 152400"/>
                    <a:gd name="connsiteX2" fmla="*/ 1 w 131064"/>
                    <a:gd name="connsiteY2" fmla="*/ 76200 h 152400"/>
                    <a:gd name="connsiteX3" fmla="*/ 65532 w 131064"/>
                    <a:gd name="connsiteY3" fmla="*/ 0 h 152400"/>
                    <a:gd name="connsiteX4" fmla="*/ 131063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0"/>
                      </a:moveTo>
                      <a:cubicBezTo>
                        <a:pt x="131063" y="118283"/>
                        <a:pt x="101725" y="152400"/>
                        <a:pt x="65532" y="152400"/>
                      </a:cubicBezTo>
                      <a:cubicBezTo>
                        <a:pt x="29339" y="152400"/>
                        <a:pt x="1" y="118283"/>
                        <a:pt x="1" y="76200"/>
                      </a:cubicBezTo>
                      <a:cubicBezTo>
                        <a:pt x="1" y="34116"/>
                        <a:pt x="29339" y="0"/>
                        <a:pt x="65532" y="0"/>
                      </a:cubicBezTo>
                      <a:cubicBezTo>
                        <a:pt x="101725" y="0"/>
                        <a:pt x="131063" y="34116"/>
                        <a:pt x="131063"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1" name="Graphic 2">
                  <a:extLst>
                    <a:ext uri="{FF2B5EF4-FFF2-40B4-BE49-F238E27FC236}">
                      <a16:creationId xmlns:a16="http://schemas.microsoft.com/office/drawing/2014/main" id="{FE473DC6-E32D-46AF-BD91-A73FBE1ADDE9}"/>
                    </a:ext>
                  </a:extLst>
                </p:cNvPr>
                <p:cNvSpPr/>
                <p:nvPr/>
              </p:nvSpPr>
              <p:spPr>
                <a:xfrm>
                  <a:off x="7824914" y="3014498"/>
                  <a:ext cx="7165" cy="8332"/>
                </a:xfrm>
                <a:custGeom>
                  <a:avLst/>
                  <a:gdLst>
                    <a:gd name="connsiteX0" fmla="*/ 131066 w 131064"/>
                    <a:gd name="connsiteY0" fmla="*/ 76201 h 152400"/>
                    <a:gd name="connsiteX1" fmla="*/ 65535 w 131064"/>
                    <a:gd name="connsiteY1" fmla="*/ 152401 h 152400"/>
                    <a:gd name="connsiteX2" fmla="*/ 4 w 131064"/>
                    <a:gd name="connsiteY2" fmla="*/ 76201 h 152400"/>
                    <a:gd name="connsiteX3" fmla="*/ 65535 w 131064"/>
                    <a:gd name="connsiteY3" fmla="*/ 1 h 152400"/>
                    <a:gd name="connsiteX4" fmla="*/ 131066 w 131064"/>
                    <a:gd name="connsiteY4" fmla="*/ 76201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1"/>
                      </a:moveTo>
                      <a:cubicBezTo>
                        <a:pt x="131066" y="118284"/>
                        <a:pt x="101728" y="152401"/>
                        <a:pt x="65535" y="152401"/>
                      </a:cubicBezTo>
                      <a:cubicBezTo>
                        <a:pt x="29342" y="152401"/>
                        <a:pt x="4" y="118284"/>
                        <a:pt x="4" y="76201"/>
                      </a:cubicBezTo>
                      <a:cubicBezTo>
                        <a:pt x="4" y="34117"/>
                        <a:pt x="29342" y="1"/>
                        <a:pt x="65535" y="1"/>
                      </a:cubicBezTo>
                      <a:cubicBezTo>
                        <a:pt x="101728" y="1"/>
                        <a:pt x="131066" y="34117"/>
                        <a:pt x="131066" y="7620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2" name="Graphic 2">
                  <a:extLst>
                    <a:ext uri="{FF2B5EF4-FFF2-40B4-BE49-F238E27FC236}">
                      <a16:creationId xmlns:a16="http://schemas.microsoft.com/office/drawing/2014/main" id="{D1DC19FA-41EF-47AF-8ED0-573C7796368B}"/>
                    </a:ext>
                  </a:extLst>
                </p:cNvPr>
                <p:cNvSpPr/>
                <p:nvPr/>
              </p:nvSpPr>
              <p:spPr>
                <a:xfrm>
                  <a:off x="7841744" y="3022996"/>
                  <a:ext cx="7165" cy="8332"/>
                </a:xfrm>
                <a:custGeom>
                  <a:avLst/>
                  <a:gdLst>
                    <a:gd name="connsiteX0" fmla="*/ 131064 w 131064"/>
                    <a:gd name="connsiteY0" fmla="*/ 76199 h 152400"/>
                    <a:gd name="connsiteX1" fmla="*/ 65533 w 131064"/>
                    <a:gd name="connsiteY1" fmla="*/ 152399 h 152400"/>
                    <a:gd name="connsiteX2" fmla="*/ 2 w 131064"/>
                    <a:gd name="connsiteY2" fmla="*/ 76199 h 152400"/>
                    <a:gd name="connsiteX3" fmla="*/ 65533 w 131064"/>
                    <a:gd name="connsiteY3" fmla="*/ -1 h 152400"/>
                    <a:gd name="connsiteX4" fmla="*/ 131064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4" y="76199"/>
                      </a:moveTo>
                      <a:cubicBezTo>
                        <a:pt x="131064" y="118283"/>
                        <a:pt x="101726" y="152399"/>
                        <a:pt x="65533" y="152399"/>
                      </a:cubicBezTo>
                      <a:cubicBezTo>
                        <a:pt x="29340" y="152399"/>
                        <a:pt x="2" y="118283"/>
                        <a:pt x="2" y="76199"/>
                      </a:cubicBezTo>
                      <a:cubicBezTo>
                        <a:pt x="2" y="34116"/>
                        <a:pt x="29340" y="-1"/>
                        <a:pt x="65533" y="-1"/>
                      </a:cubicBezTo>
                      <a:cubicBezTo>
                        <a:pt x="101726" y="-1"/>
                        <a:pt x="131064" y="34116"/>
                        <a:pt x="131064"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3" name="Graphic 2">
                  <a:extLst>
                    <a:ext uri="{FF2B5EF4-FFF2-40B4-BE49-F238E27FC236}">
                      <a16:creationId xmlns:a16="http://schemas.microsoft.com/office/drawing/2014/main" id="{46711154-82E2-4B65-802B-320040646427}"/>
                    </a:ext>
                  </a:extLst>
                </p:cNvPr>
                <p:cNvSpPr/>
                <p:nvPr/>
              </p:nvSpPr>
              <p:spPr>
                <a:xfrm>
                  <a:off x="7863074" y="3020247"/>
                  <a:ext cx="7165" cy="8332"/>
                </a:xfrm>
                <a:custGeom>
                  <a:avLst/>
                  <a:gdLst>
                    <a:gd name="connsiteX0" fmla="*/ 131064 w 131064"/>
                    <a:gd name="connsiteY0" fmla="*/ 76199 h 152400"/>
                    <a:gd name="connsiteX1" fmla="*/ 65533 w 131064"/>
                    <a:gd name="connsiteY1" fmla="*/ 152399 h 152400"/>
                    <a:gd name="connsiteX2" fmla="*/ 2 w 131064"/>
                    <a:gd name="connsiteY2" fmla="*/ 76199 h 152400"/>
                    <a:gd name="connsiteX3" fmla="*/ 65533 w 131064"/>
                    <a:gd name="connsiteY3" fmla="*/ -1 h 152400"/>
                    <a:gd name="connsiteX4" fmla="*/ 131064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4" y="76199"/>
                      </a:moveTo>
                      <a:cubicBezTo>
                        <a:pt x="131064" y="118282"/>
                        <a:pt x="101726" y="152399"/>
                        <a:pt x="65533" y="152399"/>
                      </a:cubicBezTo>
                      <a:cubicBezTo>
                        <a:pt x="29340" y="152399"/>
                        <a:pt x="2" y="118282"/>
                        <a:pt x="2" y="76199"/>
                      </a:cubicBezTo>
                      <a:cubicBezTo>
                        <a:pt x="2" y="34116"/>
                        <a:pt x="29340" y="-1"/>
                        <a:pt x="65533" y="-1"/>
                      </a:cubicBezTo>
                      <a:cubicBezTo>
                        <a:pt x="101726" y="-1"/>
                        <a:pt x="131064" y="34116"/>
                        <a:pt x="131064"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4" name="Graphic 2">
                  <a:extLst>
                    <a:ext uri="{FF2B5EF4-FFF2-40B4-BE49-F238E27FC236}">
                      <a16:creationId xmlns:a16="http://schemas.microsoft.com/office/drawing/2014/main" id="{585B42C3-F4A3-45C4-994D-A639C31E5BC7}"/>
                    </a:ext>
                  </a:extLst>
                </p:cNvPr>
                <p:cNvSpPr/>
                <p:nvPr/>
              </p:nvSpPr>
              <p:spPr>
                <a:xfrm>
                  <a:off x="7881737" y="3006082"/>
                  <a:ext cx="7165" cy="8332"/>
                </a:xfrm>
                <a:custGeom>
                  <a:avLst/>
                  <a:gdLst>
                    <a:gd name="connsiteX0" fmla="*/ 131062 w 131064"/>
                    <a:gd name="connsiteY0" fmla="*/ 76199 h 152400"/>
                    <a:gd name="connsiteX1" fmla="*/ 65531 w 131064"/>
                    <a:gd name="connsiteY1" fmla="*/ 152399 h 152400"/>
                    <a:gd name="connsiteX2" fmla="*/ 0 w 131064"/>
                    <a:gd name="connsiteY2" fmla="*/ 76199 h 152400"/>
                    <a:gd name="connsiteX3" fmla="*/ 65531 w 131064"/>
                    <a:gd name="connsiteY3" fmla="*/ -1 h 152400"/>
                    <a:gd name="connsiteX4" fmla="*/ 131062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2" y="76199"/>
                      </a:moveTo>
                      <a:cubicBezTo>
                        <a:pt x="131062" y="118283"/>
                        <a:pt x="101724" y="152399"/>
                        <a:pt x="65531" y="152399"/>
                      </a:cubicBezTo>
                      <a:cubicBezTo>
                        <a:pt x="29338" y="152399"/>
                        <a:pt x="0" y="118283"/>
                        <a:pt x="0" y="76199"/>
                      </a:cubicBezTo>
                      <a:cubicBezTo>
                        <a:pt x="0" y="34116"/>
                        <a:pt x="29338" y="-1"/>
                        <a:pt x="65531" y="-1"/>
                      </a:cubicBezTo>
                      <a:cubicBezTo>
                        <a:pt x="101724" y="-1"/>
                        <a:pt x="131062" y="34116"/>
                        <a:pt x="131062"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5" name="Graphic 2">
                  <a:extLst>
                    <a:ext uri="{FF2B5EF4-FFF2-40B4-BE49-F238E27FC236}">
                      <a16:creationId xmlns:a16="http://schemas.microsoft.com/office/drawing/2014/main" id="{37F7903A-CA77-4609-A657-A00E4FE01BD8}"/>
                    </a:ext>
                  </a:extLst>
                </p:cNvPr>
                <p:cNvSpPr/>
                <p:nvPr/>
              </p:nvSpPr>
              <p:spPr>
                <a:xfrm>
                  <a:off x="7891652" y="2986335"/>
                  <a:ext cx="7165" cy="8332"/>
                </a:xfrm>
                <a:custGeom>
                  <a:avLst/>
                  <a:gdLst>
                    <a:gd name="connsiteX0" fmla="*/ 131063 w 131064"/>
                    <a:gd name="connsiteY0" fmla="*/ 76200 h 152400"/>
                    <a:gd name="connsiteX1" fmla="*/ 65532 w 131064"/>
                    <a:gd name="connsiteY1" fmla="*/ 152400 h 152400"/>
                    <a:gd name="connsiteX2" fmla="*/ 1 w 131064"/>
                    <a:gd name="connsiteY2" fmla="*/ 76200 h 152400"/>
                    <a:gd name="connsiteX3" fmla="*/ 65532 w 131064"/>
                    <a:gd name="connsiteY3" fmla="*/ 0 h 152400"/>
                    <a:gd name="connsiteX4" fmla="*/ 131063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0"/>
                      </a:moveTo>
                      <a:cubicBezTo>
                        <a:pt x="131063" y="118284"/>
                        <a:pt x="101725" y="152400"/>
                        <a:pt x="65532" y="152400"/>
                      </a:cubicBezTo>
                      <a:cubicBezTo>
                        <a:pt x="29338" y="152400"/>
                        <a:pt x="1" y="118284"/>
                        <a:pt x="1" y="76200"/>
                      </a:cubicBezTo>
                      <a:cubicBezTo>
                        <a:pt x="1" y="34117"/>
                        <a:pt x="29338" y="0"/>
                        <a:pt x="65532" y="0"/>
                      </a:cubicBezTo>
                      <a:cubicBezTo>
                        <a:pt x="101725" y="0"/>
                        <a:pt x="131063" y="34117"/>
                        <a:pt x="131063"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6" name="Graphic 2">
                  <a:extLst>
                    <a:ext uri="{FF2B5EF4-FFF2-40B4-BE49-F238E27FC236}">
                      <a16:creationId xmlns:a16="http://schemas.microsoft.com/office/drawing/2014/main" id="{1C5588FE-D00B-4330-88E7-C3F8E57E3E30}"/>
                    </a:ext>
                  </a:extLst>
                </p:cNvPr>
                <p:cNvSpPr/>
                <p:nvPr/>
              </p:nvSpPr>
              <p:spPr>
                <a:xfrm>
                  <a:off x="7895735" y="2965089"/>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3"/>
                        <a:pt x="101728" y="152400"/>
                        <a:pt x="65535" y="152400"/>
                      </a:cubicBezTo>
                      <a:cubicBezTo>
                        <a:pt x="29342" y="152400"/>
                        <a:pt x="4" y="118283"/>
                        <a:pt x="4" y="76200"/>
                      </a:cubicBezTo>
                      <a:cubicBezTo>
                        <a:pt x="4" y="34116"/>
                        <a:pt x="29342" y="0"/>
                        <a:pt x="65535" y="0"/>
                      </a:cubicBezTo>
                      <a:cubicBezTo>
                        <a:pt x="101728" y="0"/>
                        <a:pt x="131066" y="34116"/>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7" name="Graphic 2">
                  <a:extLst>
                    <a:ext uri="{FF2B5EF4-FFF2-40B4-BE49-F238E27FC236}">
                      <a16:creationId xmlns:a16="http://schemas.microsoft.com/office/drawing/2014/main" id="{7E75F0E7-25FD-4732-A361-F7D48CB83F71}"/>
                    </a:ext>
                  </a:extLst>
                </p:cNvPr>
                <p:cNvSpPr/>
                <p:nvPr/>
              </p:nvSpPr>
              <p:spPr>
                <a:xfrm>
                  <a:off x="7895735" y="2943759"/>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4"/>
                        <a:pt x="101728" y="152400"/>
                        <a:pt x="65535" y="152400"/>
                      </a:cubicBezTo>
                      <a:cubicBezTo>
                        <a:pt x="29342" y="152400"/>
                        <a:pt x="4" y="118284"/>
                        <a:pt x="4" y="76200"/>
                      </a:cubicBezTo>
                      <a:cubicBezTo>
                        <a:pt x="4" y="34117"/>
                        <a:pt x="29342" y="0"/>
                        <a:pt x="65535" y="0"/>
                      </a:cubicBezTo>
                      <a:cubicBezTo>
                        <a:pt x="101728" y="0"/>
                        <a:pt x="131066" y="34117"/>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8" name="Graphic 2">
                  <a:extLst>
                    <a:ext uri="{FF2B5EF4-FFF2-40B4-BE49-F238E27FC236}">
                      <a16:creationId xmlns:a16="http://schemas.microsoft.com/office/drawing/2014/main" id="{B45393D3-FF2B-49A2-90E1-35220CB88A08}"/>
                    </a:ext>
                  </a:extLst>
                </p:cNvPr>
                <p:cNvSpPr/>
                <p:nvPr/>
              </p:nvSpPr>
              <p:spPr>
                <a:xfrm>
                  <a:off x="7892819" y="2922095"/>
                  <a:ext cx="7165" cy="8332"/>
                </a:xfrm>
                <a:custGeom>
                  <a:avLst/>
                  <a:gdLst>
                    <a:gd name="connsiteX0" fmla="*/ 131065 w 131064"/>
                    <a:gd name="connsiteY0" fmla="*/ 76199 h 152400"/>
                    <a:gd name="connsiteX1" fmla="*/ 65534 w 131064"/>
                    <a:gd name="connsiteY1" fmla="*/ 152399 h 152400"/>
                    <a:gd name="connsiteX2" fmla="*/ 3 w 131064"/>
                    <a:gd name="connsiteY2" fmla="*/ 76199 h 152400"/>
                    <a:gd name="connsiteX3" fmla="*/ 65534 w 131064"/>
                    <a:gd name="connsiteY3" fmla="*/ -1 h 152400"/>
                    <a:gd name="connsiteX4" fmla="*/ 131065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5" y="76199"/>
                      </a:moveTo>
                      <a:cubicBezTo>
                        <a:pt x="131065" y="118283"/>
                        <a:pt x="101727" y="152399"/>
                        <a:pt x="65534" y="152399"/>
                      </a:cubicBezTo>
                      <a:cubicBezTo>
                        <a:pt x="29341" y="152399"/>
                        <a:pt x="3" y="118283"/>
                        <a:pt x="3" y="76199"/>
                      </a:cubicBezTo>
                      <a:cubicBezTo>
                        <a:pt x="3" y="34116"/>
                        <a:pt x="29341" y="-1"/>
                        <a:pt x="65534" y="-1"/>
                      </a:cubicBezTo>
                      <a:cubicBezTo>
                        <a:pt x="101727" y="-1"/>
                        <a:pt x="131065" y="34116"/>
                        <a:pt x="131065"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39" name="Graphic 2">
                  <a:extLst>
                    <a:ext uri="{FF2B5EF4-FFF2-40B4-BE49-F238E27FC236}">
                      <a16:creationId xmlns:a16="http://schemas.microsoft.com/office/drawing/2014/main" id="{8DE7CD2D-B872-4026-818B-16030293DE46}"/>
                    </a:ext>
                  </a:extLst>
                </p:cNvPr>
                <p:cNvSpPr/>
                <p:nvPr/>
              </p:nvSpPr>
              <p:spPr>
                <a:xfrm>
                  <a:off x="7883237" y="2904681"/>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3"/>
                        <a:pt x="101728" y="152400"/>
                        <a:pt x="65535" y="152400"/>
                      </a:cubicBezTo>
                      <a:cubicBezTo>
                        <a:pt x="29342" y="152400"/>
                        <a:pt x="4" y="118283"/>
                        <a:pt x="4" y="76200"/>
                      </a:cubicBezTo>
                      <a:cubicBezTo>
                        <a:pt x="4" y="34116"/>
                        <a:pt x="29342" y="0"/>
                        <a:pt x="65535" y="0"/>
                      </a:cubicBezTo>
                      <a:cubicBezTo>
                        <a:pt x="101728" y="0"/>
                        <a:pt x="131066" y="34116"/>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0" name="Graphic 2">
                  <a:extLst>
                    <a:ext uri="{FF2B5EF4-FFF2-40B4-BE49-F238E27FC236}">
                      <a16:creationId xmlns:a16="http://schemas.microsoft.com/office/drawing/2014/main" id="{34BA7CC9-15AE-4F79-A51F-95308526967D}"/>
                    </a:ext>
                  </a:extLst>
                </p:cNvPr>
                <p:cNvSpPr/>
                <p:nvPr/>
              </p:nvSpPr>
              <p:spPr>
                <a:xfrm>
                  <a:off x="7872905" y="2891517"/>
                  <a:ext cx="7165" cy="8332"/>
                </a:xfrm>
                <a:custGeom>
                  <a:avLst/>
                  <a:gdLst>
                    <a:gd name="connsiteX0" fmla="*/ 131063 w 131064"/>
                    <a:gd name="connsiteY0" fmla="*/ 76199 h 152400"/>
                    <a:gd name="connsiteX1" fmla="*/ 65532 w 131064"/>
                    <a:gd name="connsiteY1" fmla="*/ 152399 h 152400"/>
                    <a:gd name="connsiteX2" fmla="*/ 1 w 131064"/>
                    <a:gd name="connsiteY2" fmla="*/ 76199 h 152400"/>
                    <a:gd name="connsiteX3" fmla="*/ 65532 w 131064"/>
                    <a:gd name="connsiteY3" fmla="*/ -1 h 152400"/>
                    <a:gd name="connsiteX4" fmla="*/ 131063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199"/>
                      </a:moveTo>
                      <a:cubicBezTo>
                        <a:pt x="131063" y="118283"/>
                        <a:pt x="101725" y="152399"/>
                        <a:pt x="65532" y="152399"/>
                      </a:cubicBezTo>
                      <a:cubicBezTo>
                        <a:pt x="29338" y="152399"/>
                        <a:pt x="1" y="118283"/>
                        <a:pt x="1" y="76199"/>
                      </a:cubicBezTo>
                      <a:cubicBezTo>
                        <a:pt x="1" y="34116"/>
                        <a:pt x="29338" y="-1"/>
                        <a:pt x="65532" y="-1"/>
                      </a:cubicBezTo>
                      <a:cubicBezTo>
                        <a:pt x="101725" y="-1"/>
                        <a:pt x="131063" y="34116"/>
                        <a:pt x="131063"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1" name="Graphic 2">
                  <a:extLst>
                    <a:ext uri="{FF2B5EF4-FFF2-40B4-BE49-F238E27FC236}">
                      <a16:creationId xmlns:a16="http://schemas.microsoft.com/office/drawing/2014/main" id="{C2C23D2D-A17B-438D-AB17-21744BC55F65}"/>
                    </a:ext>
                  </a:extLst>
                </p:cNvPr>
                <p:cNvSpPr/>
                <p:nvPr/>
              </p:nvSpPr>
              <p:spPr>
                <a:xfrm>
                  <a:off x="7855242" y="2884518"/>
                  <a:ext cx="7165" cy="8332"/>
                </a:xfrm>
                <a:custGeom>
                  <a:avLst/>
                  <a:gdLst>
                    <a:gd name="connsiteX0" fmla="*/ 131063 w 131064"/>
                    <a:gd name="connsiteY0" fmla="*/ 76200 h 152400"/>
                    <a:gd name="connsiteX1" fmla="*/ 65532 w 131064"/>
                    <a:gd name="connsiteY1" fmla="*/ 152400 h 152400"/>
                    <a:gd name="connsiteX2" fmla="*/ 1 w 131064"/>
                    <a:gd name="connsiteY2" fmla="*/ 76200 h 152400"/>
                    <a:gd name="connsiteX3" fmla="*/ 65532 w 131064"/>
                    <a:gd name="connsiteY3" fmla="*/ 0 h 152400"/>
                    <a:gd name="connsiteX4" fmla="*/ 131063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0"/>
                      </a:moveTo>
                      <a:cubicBezTo>
                        <a:pt x="131063" y="118283"/>
                        <a:pt x="101726" y="152400"/>
                        <a:pt x="65532" y="152400"/>
                      </a:cubicBezTo>
                      <a:cubicBezTo>
                        <a:pt x="29339" y="152400"/>
                        <a:pt x="1" y="118283"/>
                        <a:pt x="1" y="76200"/>
                      </a:cubicBezTo>
                      <a:cubicBezTo>
                        <a:pt x="1" y="34117"/>
                        <a:pt x="29339" y="0"/>
                        <a:pt x="65532" y="0"/>
                      </a:cubicBezTo>
                      <a:cubicBezTo>
                        <a:pt x="101726" y="0"/>
                        <a:pt x="131063" y="34117"/>
                        <a:pt x="131063"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2" name="Graphic 2">
                  <a:extLst>
                    <a:ext uri="{FF2B5EF4-FFF2-40B4-BE49-F238E27FC236}">
                      <a16:creationId xmlns:a16="http://schemas.microsoft.com/office/drawing/2014/main" id="{3032FCE5-A3B3-46E8-9C63-89381DC5D044}"/>
                    </a:ext>
                  </a:extLst>
                </p:cNvPr>
                <p:cNvSpPr/>
                <p:nvPr/>
              </p:nvSpPr>
              <p:spPr>
                <a:xfrm>
                  <a:off x="7831912" y="2885767"/>
                  <a:ext cx="7165" cy="8332"/>
                </a:xfrm>
                <a:custGeom>
                  <a:avLst/>
                  <a:gdLst>
                    <a:gd name="connsiteX0" fmla="*/ 131065 w 131064"/>
                    <a:gd name="connsiteY0" fmla="*/ 76199 h 152400"/>
                    <a:gd name="connsiteX1" fmla="*/ 65534 w 131064"/>
                    <a:gd name="connsiteY1" fmla="*/ 152399 h 152400"/>
                    <a:gd name="connsiteX2" fmla="*/ 3 w 131064"/>
                    <a:gd name="connsiteY2" fmla="*/ 76199 h 152400"/>
                    <a:gd name="connsiteX3" fmla="*/ 65534 w 131064"/>
                    <a:gd name="connsiteY3" fmla="*/ -1 h 152400"/>
                    <a:gd name="connsiteX4" fmla="*/ 131065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5" y="76199"/>
                      </a:moveTo>
                      <a:cubicBezTo>
                        <a:pt x="131065" y="118283"/>
                        <a:pt x="101727" y="152399"/>
                        <a:pt x="65534" y="152399"/>
                      </a:cubicBezTo>
                      <a:cubicBezTo>
                        <a:pt x="29341" y="152399"/>
                        <a:pt x="3" y="118283"/>
                        <a:pt x="3" y="76199"/>
                      </a:cubicBezTo>
                      <a:cubicBezTo>
                        <a:pt x="3" y="34116"/>
                        <a:pt x="29341" y="-1"/>
                        <a:pt x="65534" y="-1"/>
                      </a:cubicBezTo>
                      <a:cubicBezTo>
                        <a:pt x="101727" y="-1"/>
                        <a:pt x="131065" y="34116"/>
                        <a:pt x="131065"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3" name="Graphic 2">
                  <a:extLst>
                    <a:ext uri="{FF2B5EF4-FFF2-40B4-BE49-F238E27FC236}">
                      <a16:creationId xmlns:a16="http://schemas.microsoft.com/office/drawing/2014/main" id="{0D20B20F-96B1-4043-B70E-EAABBA3EE21F}"/>
                    </a:ext>
                  </a:extLst>
                </p:cNvPr>
                <p:cNvSpPr/>
                <p:nvPr/>
              </p:nvSpPr>
              <p:spPr>
                <a:xfrm>
                  <a:off x="7815415" y="2901098"/>
                  <a:ext cx="7165" cy="8332"/>
                </a:xfrm>
                <a:custGeom>
                  <a:avLst/>
                  <a:gdLst>
                    <a:gd name="connsiteX0" fmla="*/ 131063 w 131064"/>
                    <a:gd name="connsiteY0" fmla="*/ 76201 h 152400"/>
                    <a:gd name="connsiteX1" fmla="*/ 65533 w 131064"/>
                    <a:gd name="connsiteY1" fmla="*/ 152401 h 152400"/>
                    <a:gd name="connsiteX2" fmla="*/ 2 w 131064"/>
                    <a:gd name="connsiteY2" fmla="*/ 76201 h 152400"/>
                    <a:gd name="connsiteX3" fmla="*/ 65533 w 131064"/>
                    <a:gd name="connsiteY3" fmla="*/ 1 h 152400"/>
                    <a:gd name="connsiteX4" fmla="*/ 131063 w 131064"/>
                    <a:gd name="connsiteY4" fmla="*/ 76201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1"/>
                      </a:moveTo>
                      <a:cubicBezTo>
                        <a:pt x="131063" y="118284"/>
                        <a:pt x="101726" y="152401"/>
                        <a:pt x="65533" y="152401"/>
                      </a:cubicBezTo>
                      <a:cubicBezTo>
                        <a:pt x="29339" y="152401"/>
                        <a:pt x="2" y="118284"/>
                        <a:pt x="2" y="76201"/>
                      </a:cubicBezTo>
                      <a:cubicBezTo>
                        <a:pt x="2" y="34117"/>
                        <a:pt x="29339" y="1"/>
                        <a:pt x="65533" y="1"/>
                      </a:cubicBezTo>
                      <a:cubicBezTo>
                        <a:pt x="101726" y="1"/>
                        <a:pt x="131063" y="34117"/>
                        <a:pt x="131063" y="7620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4" name="Graphic 2">
                  <a:extLst>
                    <a:ext uri="{FF2B5EF4-FFF2-40B4-BE49-F238E27FC236}">
                      <a16:creationId xmlns:a16="http://schemas.microsoft.com/office/drawing/2014/main" id="{EC65C919-DA57-4BD9-AE64-B0FFEB0B28F0}"/>
                    </a:ext>
                  </a:extLst>
                </p:cNvPr>
                <p:cNvSpPr/>
                <p:nvPr/>
              </p:nvSpPr>
              <p:spPr>
                <a:xfrm>
                  <a:off x="7805167" y="2921679"/>
                  <a:ext cx="7165" cy="8332"/>
                </a:xfrm>
                <a:custGeom>
                  <a:avLst/>
                  <a:gdLst>
                    <a:gd name="connsiteX0" fmla="*/ 131062 w 131064"/>
                    <a:gd name="connsiteY0" fmla="*/ 76201 h 152400"/>
                    <a:gd name="connsiteX1" fmla="*/ 65531 w 131064"/>
                    <a:gd name="connsiteY1" fmla="*/ 152401 h 152400"/>
                    <a:gd name="connsiteX2" fmla="*/ 0 w 131064"/>
                    <a:gd name="connsiteY2" fmla="*/ 76201 h 152400"/>
                    <a:gd name="connsiteX3" fmla="*/ 65531 w 131064"/>
                    <a:gd name="connsiteY3" fmla="*/ 1 h 152400"/>
                    <a:gd name="connsiteX4" fmla="*/ 131062 w 131064"/>
                    <a:gd name="connsiteY4" fmla="*/ 76201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2" y="76201"/>
                      </a:moveTo>
                      <a:cubicBezTo>
                        <a:pt x="131062" y="118285"/>
                        <a:pt x="101724" y="152401"/>
                        <a:pt x="65531" y="152401"/>
                      </a:cubicBezTo>
                      <a:cubicBezTo>
                        <a:pt x="29338" y="152401"/>
                        <a:pt x="0" y="118285"/>
                        <a:pt x="0" y="76201"/>
                      </a:cubicBezTo>
                      <a:cubicBezTo>
                        <a:pt x="0" y="34118"/>
                        <a:pt x="29338" y="1"/>
                        <a:pt x="65531" y="1"/>
                      </a:cubicBezTo>
                      <a:cubicBezTo>
                        <a:pt x="101724" y="1"/>
                        <a:pt x="131062" y="34118"/>
                        <a:pt x="131062" y="7620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5" name="Graphic 2">
                  <a:extLst>
                    <a:ext uri="{FF2B5EF4-FFF2-40B4-BE49-F238E27FC236}">
                      <a16:creationId xmlns:a16="http://schemas.microsoft.com/office/drawing/2014/main" id="{E0C783B8-A636-4BB3-BB73-42F78AEB0EC8}"/>
                    </a:ext>
                  </a:extLst>
                </p:cNvPr>
                <p:cNvSpPr/>
                <p:nvPr/>
              </p:nvSpPr>
              <p:spPr>
                <a:xfrm>
                  <a:off x="7801501" y="2947258"/>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3"/>
                        <a:pt x="101728" y="152400"/>
                        <a:pt x="65535" y="152400"/>
                      </a:cubicBezTo>
                      <a:cubicBezTo>
                        <a:pt x="29342" y="152400"/>
                        <a:pt x="4" y="118283"/>
                        <a:pt x="4" y="76200"/>
                      </a:cubicBezTo>
                      <a:cubicBezTo>
                        <a:pt x="4" y="34116"/>
                        <a:pt x="29342" y="0"/>
                        <a:pt x="65535" y="0"/>
                      </a:cubicBezTo>
                      <a:cubicBezTo>
                        <a:pt x="101728" y="0"/>
                        <a:pt x="131066" y="34116"/>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6" name="Graphic 2">
                  <a:extLst>
                    <a:ext uri="{FF2B5EF4-FFF2-40B4-BE49-F238E27FC236}">
                      <a16:creationId xmlns:a16="http://schemas.microsoft.com/office/drawing/2014/main" id="{7F7EF9FB-A601-4831-9348-981E8D9446A6}"/>
                    </a:ext>
                  </a:extLst>
                </p:cNvPr>
                <p:cNvSpPr/>
                <p:nvPr/>
              </p:nvSpPr>
              <p:spPr>
                <a:xfrm>
                  <a:off x="7792502" y="2973837"/>
                  <a:ext cx="7999" cy="9165"/>
                </a:xfrm>
                <a:custGeom>
                  <a:avLst/>
                  <a:gdLst>
                    <a:gd name="connsiteX0" fmla="*/ 146304 w 146304"/>
                    <a:gd name="connsiteY0" fmla="*/ 83821 h 167640"/>
                    <a:gd name="connsiteX1" fmla="*/ 73151 w 146304"/>
                    <a:gd name="connsiteY1" fmla="*/ 167641 h 167640"/>
                    <a:gd name="connsiteX2" fmla="*/ -3 w 146304"/>
                    <a:gd name="connsiteY2" fmla="*/ 83821 h 167640"/>
                    <a:gd name="connsiteX3" fmla="*/ 73151 w 146304"/>
                    <a:gd name="connsiteY3" fmla="*/ 0 h 167640"/>
                    <a:gd name="connsiteX4" fmla="*/ 146304 w 146304"/>
                    <a:gd name="connsiteY4" fmla="*/ 83821 h 16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 h="167640">
                      <a:moveTo>
                        <a:pt x="146304" y="83821"/>
                      </a:moveTo>
                      <a:cubicBezTo>
                        <a:pt x="146304" y="130113"/>
                        <a:pt x="113553" y="167641"/>
                        <a:pt x="73151" y="167641"/>
                      </a:cubicBezTo>
                      <a:cubicBezTo>
                        <a:pt x="32749" y="167641"/>
                        <a:pt x="-3" y="130113"/>
                        <a:pt x="-3" y="83821"/>
                      </a:cubicBezTo>
                      <a:cubicBezTo>
                        <a:pt x="-3" y="37528"/>
                        <a:pt x="32749" y="0"/>
                        <a:pt x="73151" y="0"/>
                      </a:cubicBezTo>
                      <a:cubicBezTo>
                        <a:pt x="113553" y="0"/>
                        <a:pt x="146304" y="37528"/>
                        <a:pt x="146304" y="8382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7" name="Graphic 2">
                  <a:extLst>
                    <a:ext uri="{FF2B5EF4-FFF2-40B4-BE49-F238E27FC236}">
                      <a16:creationId xmlns:a16="http://schemas.microsoft.com/office/drawing/2014/main" id="{6CBC92EE-CE4E-44CA-8F32-8A1A04F66753}"/>
                    </a:ext>
                  </a:extLst>
                </p:cNvPr>
                <p:cNvSpPr/>
                <p:nvPr/>
              </p:nvSpPr>
              <p:spPr>
                <a:xfrm>
                  <a:off x="7796335" y="2991668"/>
                  <a:ext cx="7999" cy="9165"/>
                </a:xfrm>
                <a:custGeom>
                  <a:avLst/>
                  <a:gdLst>
                    <a:gd name="connsiteX0" fmla="*/ 146303 w 146304"/>
                    <a:gd name="connsiteY0" fmla="*/ 83821 h 167640"/>
                    <a:gd name="connsiteX1" fmla="*/ 73149 w 146304"/>
                    <a:gd name="connsiteY1" fmla="*/ 167641 h 167640"/>
                    <a:gd name="connsiteX2" fmla="*/ -4 w 146304"/>
                    <a:gd name="connsiteY2" fmla="*/ 83821 h 167640"/>
                    <a:gd name="connsiteX3" fmla="*/ 73149 w 146304"/>
                    <a:gd name="connsiteY3" fmla="*/ 0 h 167640"/>
                    <a:gd name="connsiteX4" fmla="*/ 146303 w 146304"/>
                    <a:gd name="connsiteY4" fmla="*/ 83821 h 16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 h="167640">
                      <a:moveTo>
                        <a:pt x="146303" y="83821"/>
                      </a:moveTo>
                      <a:cubicBezTo>
                        <a:pt x="146303" y="130113"/>
                        <a:pt x="113552" y="167641"/>
                        <a:pt x="73149" y="167641"/>
                      </a:cubicBezTo>
                      <a:cubicBezTo>
                        <a:pt x="32747" y="167641"/>
                        <a:pt x="-4" y="130113"/>
                        <a:pt x="-4" y="83821"/>
                      </a:cubicBezTo>
                      <a:cubicBezTo>
                        <a:pt x="-4" y="37528"/>
                        <a:pt x="32747" y="0"/>
                        <a:pt x="73149" y="0"/>
                      </a:cubicBezTo>
                      <a:cubicBezTo>
                        <a:pt x="113552" y="0"/>
                        <a:pt x="146303" y="37528"/>
                        <a:pt x="146303" y="8382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8" name="Graphic 2">
                  <a:extLst>
                    <a:ext uri="{FF2B5EF4-FFF2-40B4-BE49-F238E27FC236}">
                      <a16:creationId xmlns:a16="http://schemas.microsoft.com/office/drawing/2014/main" id="{242B0395-EEB6-48FD-96A7-F693DB13A915}"/>
                    </a:ext>
                  </a:extLst>
                </p:cNvPr>
                <p:cNvSpPr/>
                <p:nvPr/>
              </p:nvSpPr>
              <p:spPr>
                <a:xfrm>
                  <a:off x="7805084" y="3012248"/>
                  <a:ext cx="7832" cy="8999"/>
                </a:xfrm>
                <a:custGeom>
                  <a:avLst/>
                  <a:gdLst>
                    <a:gd name="connsiteX0" fmla="*/ 143255 w 143256"/>
                    <a:gd name="connsiteY0" fmla="*/ 82295 h 164591"/>
                    <a:gd name="connsiteX1" fmla="*/ 71627 w 143256"/>
                    <a:gd name="connsiteY1" fmla="*/ 164590 h 164591"/>
                    <a:gd name="connsiteX2" fmla="*/ -1 w 143256"/>
                    <a:gd name="connsiteY2" fmla="*/ 82295 h 164591"/>
                    <a:gd name="connsiteX3" fmla="*/ 71627 w 143256"/>
                    <a:gd name="connsiteY3" fmla="*/ 0 h 164591"/>
                    <a:gd name="connsiteX4" fmla="*/ 143255 w 143256"/>
                    <a:gd name="connsiteY4" fmla="*/ 82295 h 164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56" h="164591">
                      <a:moveTo>
                        <a:pt x="143255" y="82295"/>
                      </a:moveTo>
                      <a:cubicBezTo>
                        <a:pt x="143255" y="127746"/>
                        <a:pt x="111187" y="164590"/>
                        <a:pt x="71627" y="164590"/>
                      </a:cubicBezTo>
                      <a:cubicBezTo>
                        <a:pt x="32066" y="164590"/>
                        <a:pt x="-1" y="127746"/>
                        <a:pt x="-1" y="82295"/>
                      </a:cubicBezTo>
                      <a:cubicBezTo>
                        <a:pt x="-1" y="36845"/>
                        <a:pt x="32066" y="0"/>
                        <a:pt x="71627" y="0"/>
                      </a:cubicBezTo>
                      <a:cubicBezTo>
                        <a:pt x="111187" y="0"/>
                        <a:pt x="143255" y="36845"/>
                        <a:pt x="143255" y="8229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49" name="Graphic 2">
                  <a:extLst>
                    <a:ext uri="{FF2B5EF4-FFF2-40B4-BE49-F238E27FC236}">
                      <a16:creationId xmlns:a16="http://schemas.microsoft.com/office/drawing/2014/main" id="{D361A54B-E6CE-4802-8978-0448AB499DD2}"/>
                    </a:ext>
                  </a:extLst>
                </p:cNvPr>
                <p:cNvSpPr/>
                <p:nvPr/>
              </p:nvSpPr>
              <p:spPr>
                <a:xfrm>
                  <a:off x="7819414" y="3028246"/>
                  <a:ext cx="8499" cy="9832"/>
                </a:xfrm>
                <a:custGeom>
                  <a:avLst/>
                  <a:gdLst>
                    <a:gd name="connsiteX0" fmla="*/ 155450 w 155447"/>
                    <a:gd name="connsiteY0" fmla="*/ 89915 h 179832"/>
                    <a:gd name="connsiteX1" fmla="*/ 77724 w 155447"/>
                    <a:gd name="connsiteY1" fmla="*/ 179831 h 179832"/>
                    <a:gd name="connsiteX2" fmla="*/ -1 w 155447"/>
                    <a:gd name="connsiteY2" fmla="*/ 89915 h 179832"/>
                    <a:gd name="connsiteX3" fmla="*/ 77724 w 155447"/>
                    <a:gd name="connsiteY3" fmla="*/ 0 h 179832"/>
                    <a:gd name="connsiteX4" fmla="*/ 155450 w 155447"/>
                    <a:gd name="connsiteY4" fmla="*/ 89915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50" y="89915"/>
                      </a:moveTo>
                      <a:cubicBezTo>
                        <a:pt x="155450" y="139575"/>
                        <a:pt x="120652" y="179831"/>
                        <a:pt x="77724" y="179831"/>
                      </a:cubicBezTo>
                      <a:cubicBezTo>
                        <a:pt x="34797" y="179831"/>
                        <a:pt x="-1" y="139575"/>
                        <a:pt x="-1" y="89915"/>
                      </a:cubicBezTo>
                      <a:cubicBezTo>
                        <a:pt x="-1" y="40256"/>
                        <a:pt x="34797" y="0"/>
                        <a:pt x="77724" y="0"/>
                      </a:cubicBezTo>
                      <a:cubicBezTo>
                        <a:pt x="120652" y="0"/>
                        <a:pt x="155450" y="40256"/>
                        <a:pt x="155450" y="8991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0" name="Graphic 2">
                  <a:extLst>
                    <a:ext uri="{FF2B5EF4-FFF2-40B4-BE49-F238E27FC236}">
                      <a16:creationId xmlns:a16="http://schemas.microsoft.com/office/drawing/2014/main" id="{33DE2088-0DB2-44B8-8A81-2E4618EE9C25}"/>
                    </a:ext>
                  </a:extLst>
                </p:cNvPr>
                <p:cNvSpPr/>
                <p:nvPr/>
              </p:nvSpPr>
              <p:spPr>
                <a:xfrm>
                  <a:off x="7839411" y="3038077"/>
                  <a:ext cx="8499" cy="9832"/>
                </a:xfrm>
                <a:custGeom>
                  <a:avLst/>
                  <a:gdLst>
                    <a:gd name="connsiteX0" fmla="*/ 155449 w 155447"/>
                    <a:gd name="connsiteY0" fmla="*/ 89914 h 179831"/>
                    <a:gd name="connsiteX1" fmla="*/ 77723 w 155447"/>
                    <a:gd name="connsiteY1" fmla="*/ 179830 h 179831"/>
                    <a:gd name="connsiteX2" fmla="*/ -2 w 155447"/>
                    <a:gd name="connsiteY2" fmla="*/ 89914 h 179831"/>
                    <a:gd name="connsiteX3" fmla="*/ 77723 w 155447"/>
                    <a:gd name="connsiteY3" fmla="*/ -1 h 179831"/>
                    <a:gd name="connsiteX4" fmla="*/ 155449 w 155447"/>
                    <a:gd name="connsiteY4" fmla="*/ 89914 h 179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1">
                      <a:moveTo>
                        <a:pt x="155449" y="89914"/>
                      </a:moveTo>
                      <a:cubicBezTo>
                        <a:pt x="155449" y="139572"/>
                        <a:pt x="120651" y="179830"/>
                        <a:pt x="77723" y="179830"/>
                      </a:cubicBezTo>
                      <a:cubicBezTo>
                        <a:pt x="34796" y="179830"/>
                        <a:pt x="-2" y="139572"/>
                        <a:pt x="-2" y="89914"/>
                      </a:cubicBezTo>
                      <a:cubicBezTo>
                        <a:pt x="-2" y="40255"/>
                        <a:pt x="34796" y="-1"/>
                        <a:pt x="77723" y="-1"/>
                      </a:cubicBezTo>
                      <a:cubicBezTo>
                        <a:pt x="120651" y="-1"/>
                        <a:pt x="155449" y="40255"/>
                        <a:pt x="155449" y="89914"/>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1" name="Graphic 2">
                  <a:extLst>
                    <a:ext uri="{FF2B5EF4-FFF2-40B4-BE49-F238E27FC236}">
                      <a16:creationId xmlns:a16="http://schemas.microsoft.com/office/drawing/2014/main" id="{4D3C93DC-AB58-4705-9EF0-AA222A326D1E}"/>
                    </a:ext>
                  </a:extLst>
                </p:cNvPr>
                <p:cNvSpPr/>
                <p:nvPr/>
              </p:nvSpPr>
              <p:spPr>
                <a:xfrm>
                  <a:off x="7864573" y="3034911"/>
                  <a:ext cx="8499" cy="9832"/>
                </a:xfrm>
                <a:custGeom>
                  <a:avLst/>
                  <a:gdLst>
                    <a:gd name="connsiteX0" fmla="*/ 155447 w 155447"/>
                    <a:gd name="connsiteY0" fmla="*/ 89916 h 179831"/>
                    <a:gd name="connsiteX1" fmla="*/ 77722 w 155447"/>
                    <a:gd name="connsiteY1" fmla="*/ 179834 h 179831"/>
                    <a:gd name="connsiteX2" fmla="*/ -4 w 155447"/>
                    <a:gd name="connsiteY2" fmla="*/ 89918 h 179831"/>
                    <a:gd name="connsiteX3" fmla="*/ 77722 w 155447"/>
                    <a:gd name="connsiteY3" fmla="*/ 3 h 179831"/>
                    <a:gd name="connsiteX4" fmla="*/ 155447 w 155447"/>
                    <a:gd name="connsiteY4" fmla="*/ 89916 h 179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1">
                      <a:moveTo>
                        <a:pt x="155447" y="89916"/>
                      </a:moveTo>
                      <a:cubicBezTo>
                        <a:pt x="155447" y="139576"/>
                        <a:pt x="120649" y="179834"/>
                        <a:pt x="77722" y="179834"/>
                      </a:cubicBezTo>
                      <a:cubicBezTo>
                        <a:pt x="34794" y="179834"/>
                        <a:pt x="-4" y="139578"/>
                        <a:pt x="-4" y="89918"/>
                      </a:cubicBezTo>
                      <a:cubicBezTo>
                        <a:pt x="-4" y="40258"/>
                        <a:pt x="34794" y="3"/>
                        <a:pt x="77722" y="3"/>
                      </a:cubicBezTo>
                      <a:cubicBezTo>
                        <a:pt x="120649" y="3"/>
                        <a:pt x="155447" y="40258"/>
                        <a:pt x="155447" y="89916"/>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2" name="Graphic 2">
                  <a:extLst>
                    <a:ext uri="{FF2B5EF4-FFF2-40B4-BE49-F238E27FC236}">
                      <a16:creationId xmlns:a16="http://schemas.microsoft.com/office/drawing/2014/main" id="{75E999D1-C18C-4659-A19B-0A88FFDDA443}"/>
                    </a:ext>
                  </a:extLst>
                </p:cNvPr>
                <p:cNvSpPr/>
                <p:nvPr/>
              </p:nvSpPr>
              <p:spPr>
                <a:xfrm>
                  <a:off x="7886736" y="3018497"/>
                  <a:ext cx="8499" cy="9832"/>
                </a:xfrm>
                <a:custGeom>
                  <a:avLst/>
                  <a:gdLst>
                    <a:gd name="connsiteX0" fmla="*/ 155448 w 155447"/>
                    <a:gd name="connsiteY0" fmla="*/ 89916 h 179832"/>
                    <a:gd name="connsiteX1" fmla="*/ 77722 w 155447"/>
                    <a:gd name="connsiteY1" fmla="*/ 179831 h 179832"/>
                    <a:gd name="connsiteX2" fmla="*/ -3 w 155447"/>
                    <a:gd name="connsiteY2" fmla="*/ 89916 h 179832"/>
                    <a:gd name="connsiteX3" fmla="*/ 77722 w 155447"/>
                    <a:gd name="connsiteY3" fmla="*/ 0 h 179832"/>
                    <a:gd name="connsiteX4" fmla="*/ 155448 w 155447"/>
                    <a:gd name="connsiteY4" fmla="*/ 89916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48" y="89916"/>
                      </a:moveTo>
                      <a:cubicBezTo>
                        <a:pt x="155448" y="139575"/>
                        <a:pt x="120650" y="179831"/>
                        <a:pt x="77722" y="179831"/>
                      </a:cubicBezTo>
                      <a:cubicBezTo>
                        <a:pt x="34795" y="179831"/>
                        <a:pt x="-3" y="139575"/>
                        <a:pt x="-3" y="89916"/>
                      </a:cubicBezTo>
                      <a:cubicBezTo>
                        <a:pt x="-3" y="40256"/>
                        <a:pt x="34795" y="0"/>
                        <a:pt x="77722" y="0"/>
                      </a:cubicBezTo>
                      <a:cubicBezTo>
                        <a:pt x="120650" y="0"/>
                        <a:pt x="155448" y="40256"/>
                        <a:pt x="155448" y="89916"/>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3" name="Graphic 2">
                  <a:extLst>
                    <a:ext uri="{FF2B5EF4-FFF2-40B4-BE49-F238E27FC236}">
                      <a16:creationId xmlns:a16="http://schemas.microsoft.com/office/drawing/2014/main" id="{CCC71218-79C7-4EDD-8E4B-B6BB78B51FD1}"/>
                    </a:ext>
                  </a:extLst>
                </p:cNvPr>
                <p:cNvSpPr/>
                <p:nvPr/>
              </p:nvSpPr>
              <p:spPr>
                <a:xfrm>
                  <a:off x="7898401" y="2995417"/>
                  <a:ext cx="8499" cy="9832"/>
                </a:xfrm>
                <a:custGeom>
                  <a:avLst/>
                  <a:gdLst>
                    <a:gd name="connsiteX0" fmla="*/ 155447 w 155447"/>
                    <a:gd name="connsiteY0" fmla="*/ 89915 h 179832"/>
                    <a:gd name="connsiteX1" fmla="*/ 77721 w 155447"/>
                    <a:gd name="connsiteY1" fmla="*/ 179831 h 179832"/>
                    <a:gd name="connsiteX2" fmla="*/ -4 w 155447"/>
                    <a:gd name="connsiteY2" fmla="*/ 89915 h 179832"/>
                    <a:gd name="connsiteX3" fmla="*/ 77721 w 155447"/>
                    <a:gd name="connsiteY3" fmla="*/ 0 h 179832"/>
                    <a:gd name="connsiteX4" fmla="*/ 155447 w 155447"/>
                    <a:gd name="connsiteY4" fmla="*/ 89915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47" y="89915"/>
                      </a:moveTo>
                      <a:cubicBezTo>
                        <a:pt x="155447" y="139575"/>
                        <a:pt x="120649" y="179831"/>
                        <a:pt x="77721" y="179831"/>
                      </a:cubicBezTo>
                      <a:cubicBezTo>
                        <a:pt x="34794" y="179831"/>
                        <a:pt x="-4" y="139575"/>
                        <a:pt x="-4" y="89915"/>
                      </a:cubicBezTo>
                      <a:cubicBezTo>
                        <a:pt x="-4" y="40255"/>
                        <a:pt x="34794" y="0"/>
                        <a:pt x="77721" y="0"/>
                      </a:cubicBezTo>
                      <a:cubicBezTo>
                        <a:pt x="120649" y="0"/>
                        <a:pt x="155447" y="40255"/>
                        <a:pt x="155447" y="8991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4" name="Graphic 2">
                  <a:extLst>
                    <a:ext uri="{FF2B5EF4-FFF2-40B4-BE49-F238E27FC236}">
                      <a16:creationId xmlns:a16="http://schemas.microsoft.com/office/drawing/2014/main" id="{F0603AD3-498E-4188-B905-656C4A568D6C}"/>
                    </a:ext>
                  </a:extLst>
                </p:cNvPr>
                <p:cNvSpPr/>
                <p:nvPr/>
              </p:nvSpPr>
              <p:spPr>
                <a:xfrm>
                  <a:off x="7903234" y="2970588"/>
                  <a:ext cx="8499" cy="9832"/>
                </a:xfrm>
                <a:custGeom>
                  <a:avLst/>
                  <a:gdLst>
                    <a:gd name="connsiteX0" fmla="*/ 155449 w 155447"/>
                    <a:gd name="connsiteY0" fmla="*/ 89916 h 179832"/>
                    <a:gd name="connsiteX1" fmla="*/ 77724 w 155447"/>
                    <a:gd name="connsiteY1" fmla="*/ 179831 h 179832"/>
                    <a:gd name="connsiteX2" fmla="*/ -2 w 155447"/>
                    <a:gd name="connsiteY2" fmla="*/ 89916 h 179832"/>
                    <a:gd name="connsiteX3" fmla="*/ 77724 w 155447"/>
                    <a:gd name="connsiteY3" fmla="*/ 0 h 179832"/>
                    <a:gd name="connsiteX4" fmla="*/ 155449 w 155447"/>
                    <a:gd name="connsiteY4" fmla="*/ 89916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49" y="89916"/>
                      </a:moveTo>
                      <a:cubicBezTo>
                        <a:pt x="155449" y="139575"/>
                        <a:pt x="120651" y="179831"/>
                        <a:pt x="77724" y="179831"/>
                      </a:cubicBezTo>
                      <a:cubicBezTo>
                        <a:pt x="34796" y="179831"/>
                        <a:pt x="-2" y="139575"/>
                        <a:pt x="-2" y="89916"/>
                      </a:cubicBezTo>
                      <a:cubicBezTo>
                        <a:pt x="-2" y="40256"/>
                        <a:pt x="34796" y="0"/>
                        <a:pt x="77724" y="0"/>
                      </a:cubicBezTo>
                      <a:cubicBezTo>
                        <a:pt x="120651" y="0"/>
                        <a:pt x="155449" y="40256"/>
                        <a:pt x="155449" y="89916"/>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5" name="Graphic 2">
                  <a:extLst>
                    <a:ext uri="{FF2B5EF4-FFF2-40B4-BE49-F238E27FC236}">
                      <a16:creationId xmlns:a16="http://schemas.microsoft.com/office/drawing/2014/main" id="{DDD094BC-C4C1-44D3-8687-65403FC79534}"/>
                    </a:ext>
                  </a:extLst>
                </p:cNvPr>
                <p:cNvSpPr/>
                <p:nvPr/>
              </p:nvSpPr>
              <p:spPr>
                <a:xfrm>
                  <a:off x="7904817" y="2945925"/>
                  <a:ext cx="8499" cy="9832"/>
                </a:xfrm>
                <a:custGeom>
                  <a:avLst/>
                  <a:gdLst>
                    <a:gd name="connsiteX0" fmla="*/ 155450 w 155447"/>
                    <a:gd name="connsiteY0" fmla="*/ 89917 h 179832"/>
                    <a:gd name="connsiteX1" fmla="*/ 77724 w 155447"/>
                    <a:gd name="connsiteY1" fmla="*/ 179832 h 179832"/>
                    <a:gd name="connsiteX2" fmla="*/ -1 w 155447"/>
                    <a:gd name="connsiteY2" fmla="*/ 89917 h 179832"/>
                    <a:gd name="connsiteX3" fmla="*/ 77724 w 155447"/>
                    <a:gd name="connsiteY3" fmla="*/ 2 h 179832"/>
                    <a:gd name="connsiteX4" fmla="*/ 155450 w 155447"/>
                    <a:gd name="connsiteY4" fmla="*/ 89917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50" y="89917"/>
                      </a:moveTo>
                      <a:cubicBezTo>
                        <a:pt x="155450" y="139577"/>
                        <a:pt x="120652" y="179832"/>
                        <a:pt x="77724" y="179832"/>
                      </a:cubicBezTo>
                      <a:cubicBezTo>
                        <a:pt x="34797" y="179832"/>
                        <a:pt x="-1" y="139577"/>
                        <a:pt x="-1" y="89917"/>
                      </a:cubicBezTo>
                      <a:cubicBezTo>
                        <a:pt x="-1" y="40257"/>
                        <a:pt x="34797" y="2"/>
                        <a:pt x="77724" y="2"/>
                      </a:cubicBezTo>
                      <a:cubicBezTo>
                        <a:pt x="120652" y="2"/>
                        <a:pt x="155450" y="40257"/>
                        <a:pt x="155450" y="89917"/>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6" name="Graphic 2">
                  <a:extLst>
                    <a:ext uri="{FF2B5EF4-FFF2-40B4-BE49-F238E27FC236}">
                      <a16:creationId xmlns:a16="http://schemas.microsoft.com/office/drawing/2014/main" id="{31A122D7-4D3D-4F53-A394-09295036DD6F}"/>
                    </a:ext>
                  </a:extLst>
                </p:cNvPr>
                <p:cNvSpPr/>
                <p:nvPr/>
              </p:nvSpPr>
              <p:spPr>
                <a:xfrm>
                  <a:off x="7901817" y="2917096"/>
                  <a:ext cx="8832" cy="10165"/>
                </a:xfrm>
                <a:custGeom>
                  <a:avLst/>
                  <a:gdLst>
                    <a:gd name="connsiteX0" fmla="*/ 161545 w 161543"/>
                    <a:gd name="connsiteY0" fmla="*/ 92965 h 185928"/>
                    <a:gd name="connsiteX1" fmla="*/ 80773 w 161543"/>
                    <a:gd name="connsiteY1" fmla="*/ 185929 h 185928"/>
                    <a:gd name="connsiteX2" fmla="*/ 1 w 161543"/>
                    <a:gd name="connsiteY2" fmla="*/ 92965 h 185928"/>
                    <a:gd name="connsiteX3" fmla="*/ 80773 w 161543"/>
                    <a:gd name="connsiteY3" fmla="*/ 1 h 185928"/>
                    <a:gd name="connsiteX4" fmla="*/ 161545 w 161543"/>
                    <a:gd name="connsiteY4" fmla="*/ 92965 h 18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43" h="185928">
                      <a:moveTo>
                        <a:pt x="161545" y="92965"/>
                      </a:moveTo>
                      <a:cubicBezTo>
                        <a:pt x="161545" y="144308"/>
                        <a:pt x="125384" y="185929"/>
                        <a:pt x="80773" y="185929"/>
                      </a:cubicBezTo>
                      <a:cubicBezTo>
                        <a:pt x="36162" y="185929"/>
                        <a:pt x="1" y="144308"/>
                        <a:pt x="1" y="92965"/>
                      </a:cubicBezTo>
                      <a:cubicBezTo>
                        <a:pt x="1" y="41621"/>
                        <a:pt x="36162" y="1"/>
                        <a:pt x="80773" y="1"/>
                      </a:cubicBezTo>
                      <a:cubicBezTo>
                        <a:pt x="125384" y="1"/>
                        <a:pt x="161545" y="41621"/>
                        <a:pt x="161545" y="9296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7" name="Graphic 2">
                  <a:extLst>
                    <a:ext uri="{FF2B5EF4-FFF2-40B4-BE49-F238E27FC236}">
                      <a16:creationId xmlns:a16="http://schemas.microsoft.com/office/drawing/2014/main" id="{2326E7A6-3E40-4381-ABD9-B9F5205E77B9}"/>
                    </a:ext>
                  </a:extLst>
                </p:cNvPr>
                <p:cNvSpPr/>
                <p:nvPr/>
              </p:nvSpPr>
              <p:spPr>
                <a:xfrm>
                  <a:off x="7891069" y="2896432"/>
                  <a:ext cx="8832" cy="10165"/>
                </a:xfrm>
                <a:custGeom>
                  <a:avLst/>
                  <a:gdLst>
                    <a:gd name="connsiteX0" fmla="*/ 161543 w 161543"/>
                    <a:gd name="connsiteY0" fmla="*/ 92963 h 185928"/>
                    <a:gd name="connsiteX1" fmla="*/ 80771 w 161543"/>
                    <a:gd name="connsiteY1" fmla="*/ 185927 h 185928"/>
                    <a:gd name="connsiteX2" fmla="*/ 0 w 161543"/>
                    <a:gd name="connsiteY2" fmla="*/ 92963 h 185928"/>
                    <a:gd name="connsiteX3" fmla="*/ 80771 w 161543"/>
                    <a:gd name="connsiteY3" fmla="*/ -1 h 185928"/>
                    <a:gd name="connsiteX4" fmla="*/ 161543 w 161543"/>
                    <a:gd name="connsiteY4" fmla="*/ 92963 h 18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43" h="185928">
                      <a:moveTo>
                        <a:pt x="161543" y="92963"/>
                      </a:moveTo>
                      <a:cubicBezTo>
                        <a:pt x="161543" y="144306"/>
                        <a:pt x="125383" y="185927"/>
                        <a:pt x="80771" y="185927"/>
                      </a:cubicBezTo>
                      <a:cubicBezTo>
                        <a:pt x="36160" y="185927"/>
                        <a:pt x="0" y="144306"/>
                        <a:pt x="0" y="92963"/>
                      </a:cubicBezTo>
                      <a:cubicBezTo>
                        <a:pt x="0" y="41620"/>
                        <a:pt x="36160" y="-1"/>
                        <a:pt x="80771" y="-1"/>
                      </a:cubicBezTo>
                      <a:cubicBezTo>
                        <a:pt x="125383" y="-1"/>
                        <a:pt x="161543" y="41620"/>
                        <a:pt x="161543" y="92963"/>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8" name="Graphic 2">
                  <a:extLst>
                    <a:ext uri="{FF2B5EF4-FFF2-40B4-BE49-F238E27FC236}">
                      <a16:creationId xmlns:a16="http://schemas.microsoft.com/office/drawing/2014/main" id="{440D531E-1C03-45AF-A19A-CDB0BA449830}"/>
                    </a:ext>
                  </a:extLst>
                </p:cNvPr>
                <p:cNvSpPr/>
                <p:nvPr/>
              </p:nvSpPr>
              <p:spPr>
                <a:xfrm>
                  <a:off x="7879154" y="2879935"/>
                  <a:ext cx="8665" cy="9998"/>
                </a:xfrm>
                <a:custGeom>
                  <a:avLst/>
                  <a:gdLst>
                    <a:gd name="connsiteX0" fmla="*/ 158498 w 158495"/>
                    <a:gd name="connsiteY0" fmla="*/ 91440 h 182879"/>
                    <a:gd name="connsiteX1" fmla="*/ 79252 w 158495"/>
                    <a:gd name="connsiteY1" fmla="*/ 182881 h 182879"/>
                    <a:gd name="connsiteX2" fmla="*/ 5 w 158495"/>
                    <a:gd name="connsiteY2" fmla="*/ 91440 h 182879"/>
                    <a:gd name="connsiteX3" fmla="*/ 79252 w 158495"/>
                    <a:gd name="connsiteY3" fmla="*/ 0 h 182879"/>
                    <a:gd name="connsiteX4" fmla="*/ 158498 w 158495"/>
                    <a:gd name="connsiteY4" fmla="*/ 91440 h 182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95" h="182879">
                      <a:moveTo>
                        <a:pt x="158498" y="91440"/>
                      </a:moveTo>
                      <a:cubicBezTo>
                        <a:pt x="158498" y="141942"/>
                        <a:pt x="123016" y="182881"/>
                        <a:pt x="79252" y="182881"/>
                      </a:cubicBezTo>
                      <a:cubicBezTo>
                        <a:pt x="35482" y="182881"/>
                        <a:pt x="5" y="141942"/>
                        <a:pt x="5" y="91440"/>
                      </a:cubicBezTo>
                      <a:cubicBezTo>
                        <a:pt x="5" y="40939"/>
                        <a:pt x="35487" y="0"/>
                        <a:pt x="79252" y="0"/>
                      </a:cubicBezTo>
                      <a:cubicBezTo>
                        <a:pt x="123021" y="0"/>
                        <a:pt x="158498" y="40939"/>
                        <a:pt x="158498" y="9144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59" name="Graphic 2">
                  <a:extLst>
                    <a:ext uri="{FF2B5EF4-FFF2-40B4-BE49-F238E27FC236}">
                      <a16:creationId xmlns:a16="http://schemas.microsoft.com/office/drawing/2014/main" id="{9396DCE7-306F-44BE-9896-D0E2AA149F28}"/>
                    </a:ext>
                  </a:extLst>
                </p:cNvPr>
                <p:cNvSpPr/>
                <p:nvPr/>
              </p:nvSpPr>
              <p:spPr>
                <a:xfrm>
                  <a:off x="7857158" y="2871103"/>
                  <a:ext cx="7999" cy="9165"/>
                </a:xfrm>
                <a:custGeom>
                  <a:avLst/>
                  <a:gdLst>
                    <a:gd name="connsiteX0" fmla="*/ 146306 w 146304"/>
                    <a:gd name="connsiteY0" fmla="*/ 83820 h 167640"/>
                    <a:gd name="connsiteX1" fmla="*/ 73152 w 146304"/>
                    <a:gd name="connsiteY1" fmla="*/ 167641 h 167640"/>
                    <a:gd name="connsiteX2" fmla="*/ -1 w 146304"/>
                    <a:gd name="connsiteY2" fmla="*/ 83820 h 167640"/>
                    <a:gd name="connsiteX3" fmla="*/ 73152 w 146304"/>
                    <a:gd name="connsiteY3" fmla="*/ 0 h 167640"/>
                    <a:gd name="connsiteX4" fmla="*/ 146306 w 146304"/>
                    <a:gd name="connsiteY4" fmla="*/ 83820 h 16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 h="167640">
                      <a:moveTo>
                        <a:pt x="146306" y="83820"/>
                      </a:moveTo>
                      <a:cubicBezTo>
                        <a:pt x="146306" y="130113"/>
                        <a:pt x="113554" y="167641"/>
                        <a:pt x="73152" y="167641"/>
                      </a:cubicBezTo>
                      <a:cubicBezTo>
                        <a:pt x="32750" y="167641"/>
                        <a:pt x="-1" y="130113"/>
                        <a:pt x="-1" y="83820"/>
                      </a:cubicBezTo>
                      <a:cubicBezTo>
                        <a:pt x="-1" y="37528"/>
                        <a:pt x="32750" y="0"/>
                        <a:pt x="73152" y="0"/>
                      </a:cubicBezTo>
                      <a:cubicBezTo>
                        <a:pt x="113554" y="0"/>
                        <a:pt x="146306" y="37528"/>
                        <a:pt x="146306" y="8382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0" name="Graphic 2">
                  <a:extLst>
                    <a:ext uri="{FF2B5EF4-FFF2-40B4-BE49-F238E27FC236}">
                      <a16:creationId xmlns:a16="http://schemas.microsoft.com/office/drawing/2014/main" id="{A90AC60D-609D-4106-B181-6B8BC6C1B079}"/>
                    </a:ext>
                  </a:extLst>
                </p:cNvPr>
                <p:cNvSpPr/>
                <p:nvPr/>
              </p:nvSpPr>
              <p:spPr>
                <a:xfrm>
                  <a:off x="7828580" y="2872769"/>
                  <a:ext cx="7832" cy="8999"/>
                </a:xfrm>
                <a:custGeom>
                  <a:avLst/>
                  <a:gdLst>
                    <a:gd name="connsiteX0" fmla="*/ 143256 w 143256"/>
                    <a:gd name="connsiteY0" fmla="*/ 82297 h 164591"/>
                    <a:gd name="connsiteX1" fmla="*/ 71628 w 143256"/>
                    <a:gd name="connsiteY1" fmla="*/ 164592 h 164591"/>
                    <a:gd name="connsiteX2" fmla="*/ 0 w 143256"/>
                    <a:gd name="connsiteY2" fmla="*/ 82297 h 164591"/>
                    <a:gd name="connsiteX3" fmla="*/ 71628 w 143256"/>
                    <a:gd name="connsiteY3" fmla="*/ 2 h 164591"/>
                    <a:gd name="connsiteX4" fmla="*/ 143256 w 143256"/>
                    <a:gd name="connsiteY4" fmla="*/ 82297 h 164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56" h="164591">
                      <a:moveTo>
                        <a:pt x="143256" y="82297"/>
                      </a:moveTo>
                      <a:cubicBezTo>
                        <a:pt x="143256" y="127747"/>
                        <a:pt x="111188" y="164592"/>
                        <a:pt x="71628" y="164592"/>
                      </a:cubicBezTo>
                      <a:cubicBezTo>
                        <a:pt x="32067" y="164592"/>
                        <a:pt x="0" y="127747"/>
                        <a:pt x="0" y="82297"/>
                      </a:cubicBezTo>
                      <a:cubicBezTo>
                        <a:pt x="0" y="36846"/>
                        <a:pt x="32067" y="2"/>
                        <a:pt x="71628" y="2"/>
                      </a:cubicBezTo>
                      <a:cubicBezTo>
                        <a:pt x="111188" y="2"/>
                        <a:pt x="143256" y="36846"/>
                        <a:pt x="143256" y="82297"/>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1" name="Graphic 2">
                  <a:extLst>
                    <a:ext uri="{FF2B5EF4-FFF2-40B4-BE49-F238E27FC236}">
                      <a16:creationId xmlns:a16="http://schemas.microsoft.com/office/drawing/2014/main" id="{36D90CC3-B5F5-4D45-8B46-A18276A2BB4F}"/>
                    </a:ext>
                  </a:extLst>
                </p:cNvPr>
                <p:cNvSpPr/>
                <p:nvPr/>
              </p:nvSpPr>
              <p:spPr>
                <a:xfrm>
                  <a:off x="7806750" y="2894266"/>
                  <a:ext cx="7665" cy="8832"/>
                </a:xfrm>
                <a:custGeom>
                  <a:avLst/>
                  <a:gdLst>
                    <a:gd name="connsiteX0" fmla="*/ 140206 w 140207"/>
                    <a:gd name="connsiteY0" fmla="*/ 80772 h 161544"/>
                    <a:gd name="connsiteX1" fmla="*/ 70103 w 140207"/>
                    <a:gd name="connsiteY1" fmla="*/ 161543 h 161544"/>
                    <a:gd name="connsiteX2" fmla="*/ 0 w 140207"/>
                    <a:gd name="connsiteY2" fmla="*/ 80772 h 161544"/>
                    <a:gd name="connsiteX3" fmla="*/ 70103 w 140207"/>
                    <a:gd name="connsiteY3" fmla="*/ 0 h 161544"/>
                    <a:gd name="connsiteX4" fmla="*/ 140206 w 140207"/>
                    <a:gd name="connsiteY4" fmla="*/ 80772 h 16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207" h="161544">
                      <a:moveTo>
                        <a:pt x="140206" y="80772"/>
                      </a:moveTo>
                      <a:cubicBezTo>
                        <a:pt x="140206" y="125380"/>
                        <a:pt x="108817" y="161543"/>
                        <a:pt x="70103" y="161543"/>
                      </a:cubicBezTo>
                      <a:cubicBezTo>
                        <a:pt x="31385" y="161543"/>
                        <a:pt x="0" y="125380"/>
                        <a:pt x="0" y="80772"/>
                      </a:cubicBezTo>
                      <a:cubicBezTo>
                        <a:pt x="0" y="36163"/>
                        <a:pt x="31389" y="0"/>
                        <a:pt x="70103" y="0"/>
                      </a:cubicBezTo>
                      <a:cubicBezTo>
                        <a:pt x="108822" y="0"/>
                        <a:pt x="140206" y="36163"/>
                        <a:pt x="140206" y="80772"/>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2" name="Graphic 2">
                  <a:extLst>
                    <a:ext uri="{FF2B5EF4-FFF2-40B4-BE49-F238E27FC236}">
                      <a16:creationId xmlns:a16="http://schemas.microsoft.com/office/drawing/2014/main" id="{7F34A068-F309-470C-9381-1861FE7F6CDE}"/>
                    </a:ext>
                  </a:extLst>
                </p:cNvPr>
                <p:cNvSpPr/>
                <p:nvPr/>
              </p:nvSpPr>
              <p:spPr>
                <a:xfrm>
                  <a:off x="7794752" y="2916679"/>
                  <a:ext cx="7665" cy="8832"/>
                </a:xfrm>
                <a:custGeom>
                  <a:avLst/>
                  <a:gdLst>
                    <a:gd name="connsiteX0" fmla="*/ 140210 w 140207"/>
                    <a:gd name="connsiteY0" fmla="*/ 80772 h 161544"/>
                    <a:gd name="connsiteX1" fmla="*/ 70107 w 140207"/>
                    <a:gd name="connsiteY1" fmla="*/ 161544 h 161544"/>
                    <a:gd name="connsiteX2" fmla="*/ 5 w 140207"/>
                    <a:gd name="connsiteY2" fmla="*/ 80772 h 161544"/>
                    <a:gd name="connsiteX3" fmla="*/ 70107 w 140207"/>
                    <a:gd name="connsiteY3" fmla="*/ 0 h 161544"/>
                    <a:gd name="connsiteX4" fmla="*/ 140210 w 140207"/>
                    <a:gd name="connsiteY4" fmla="*/ 80772 h 16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207" h="161544">
                      <a:moveTo>
                        <a:pt x="140210" y="80772"/>
                      </a:moveTo>
                      <a:cubicBezTo>
                        <a:pt x="140210" y="125381"/>
                        <a:pt x="108821" y="161544"/>
                        <a:pt x="70107" y="161544"/>
                      </a:cubicBezTo>
                      <a:cubicBezTo>
                        <a:pt x="31389" y="161544"/>
                        <a:pt x="5" y="125381"/>
                        <a:pt x="5" y="80772"/>
                      </a:cubicBezTo>
                      <a:cubicBezTo>
                        <a:pt x="5" y="36163"/>
                        <a:pt x="31393" y="0"/>
                        <a:pt x="70107" y="0"/>
                      </a:cubicBezTo>
                      <a:cubicBezTo>
                        <a:pt x="108826" y="0"/>
                        <a:pt x="140210" y="36163"/>
                        <a:pt x="140210" y="80772"/>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3" name="Graphic 2">
                  <a:extLst>
                    <a:ext uri="{FF2B5EF4-FFF2-40B4-BE49-F238E27FC236}">
                      <a16:creationId xmlns:a16="http://schemas.microsoft.com/office/drawing/2014/main" id="{D65B9331-D4A3-49FD-9652-0B41EF71D742}"/>
                    </a:ext>
                  </a:extLst>
                </p:cNvPr>
                <p:cNvSpPr/>
                <p:nvPr/>
              </p:nvSpPr>
              <p:spPr>
                <a:xfrm>
                  <a:off x="7791086" y="2947341"/>
                  <a:ext cx="7665" cy="8832"/>
                </a:xfrm>
                <a:custGeom>
                  <a:avLst/>
                  <a:gdLst>
                    <a:gd name="connsiteX0" fmla="*/ 140210 w 140207"/>
                    <a:gd name="connsiteY0" fmla="*/ 80773 h 161544"/>
                    <a:gd name="connsiteX1" fmla="*/ 70107 w 140207"/>
                    <a:gd name="connsiteY1" fmla="*/ 161545 h 161544"/>
                    <a:gd name="connsiteX2" fmla="*/ 4 w 140207"/>
                    <a:gd name="connsiteY2" fmla="*/ 80773 h 161544"/>
                    <a:gd name="connsiteX3" fmla="*/ 70107 w 140207"/>
                    <a:gd name="connsiteY3" fmla="*/ 1 h 161544"/>
                    <a:gd name="connsiteX4" fmla="*/ 140210 w 140207"/>
                    <a:gd name="connsiteY4" fmla="*/ 80773 h 16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207" h="161544">
                      <a:moveTo>
                        <a:pt x="140210" y="80773"/>
                      </a:moveTo>
                      <a:cubicBezTo>
                        <a:pt x="140210" y="125382"/>
                        <a:pt x="108821" y="161545"/>
                        <a:pt x="70107" y="161545"/>
                      </a:cubicBezTo>
                      <a:cubicBezTo>
                        <a:pt x="31388" y="161545"/>
                        <a:pt x="4" y="125382"/>
                        <a:pt x="4" y="80773"/>
                      </a:cubicBezTo>
                      <a:cubicBezTo>
                        <a:pt x="4" y="36164"/>
                        <a:pt x="31393" y="1"/>
                        <a:pt x="70107" y="1"/>
                      </a:cubicBezTo>
                      <a:cubicBezTo>
                        <a:pt x="108826" y="1"/>
                        <a:pt x="140210" y="36164"/>
                        <a:pt x="140210" y="80773"/>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4" name="Graphic 2">
                  <a:extLst>
                    <a:ext uri="{FF2B5EF4-FFF2-40B4-BE49-F238E27FC236}">
                      <a16:creationId xmlns:a16="http://schemas.microsoft.com/office/drawing/2014/main" id="{9C942F6B-FB61-487B-916B-C1284FF6E815}"/>
                    </a:ext>
                  </a:extLst>
                </p:cNvPr>
                <p:cNvSpPr/>
                <p:nvPr/>
              </p:nvSpPr>
              <p:spPr>
                <a:xfrm>
                  <a:off x="7789586" y="2835775"/>
                  <a:ext cx="412513" cy="163725"/>
                </a:xfrm>
                <a:custGeom>
                  <a:avLst/>
                  <a:gdLst>
                    <a:gd name="connsiteX0" fmla="*/ 2103118 w 7545325"/>
                    <a:gd name="connsiteY0" fmla="*/ 1703833 h 2994661"/>
                    <a:gd name="connsiteX1" fmla="*/ 0 w 7545325"/>
                    <a:gd name="connsiteY1" fmla="*/ 155449 h 2994661"/>
                    <a:gd name="connsiteX2" fmla="*/ 1825749 w 7545325"/>
                    <a:gd name="connsiteY2" fmla="*/ 0 h 2994661"/>
                    <a:gd name="connsiteX3" fmla="*/ 6455662 w 7545325"/>
                    <a:gd name="connsiteY3" fmla="*/ 0 h 2994661"/>
                    <a:gd name="connsiteX4" fmla="*/ 7479790 w 7545325"/>
                    <a:gd name="connsiteY4" fmla="*/ 519685 h 2994661"/>
                    <a:gd name="connsiteX5" fmla="*/ 7545326 w 7545325"/>
                    <a:gd name="connsiteY5" fmla="*/ 763526 h 2994661"/>
                    <a:gd name="connsiteX6" fmla="*/ 7545326 w 7545325"/>
                    <a:gd name="connsiteY6" fmla="*/ 2833118 h 2994661"/>
                    <a:gd name="connsiteX7" fmla="*/ 7383777 w 7545325"/>
                    <a:gd name="connsiteY7" fmla="*/ 2994662 h 2994661"/>
                    <a:gd name="connsiteX8" fmla="*/ 5314188 w 7545325"/>
                    <a:gd name="connsiteY8" fmla="*/ 2994662 h 2994661"/>
                    <a:gd name="connsiteX9" fmla="*/ 5207506 w 7545325"/>
                    <a:gd name="connsiteY9" fmla="*/ 2910841 h 2994661"/>
                    <a:gd name="connsiteX10" fmla="*/ 4745734 w 7545325"/>
                    <a:gd name="connsiteY10" fmla="*/ 1940054 h 2994661"/>
                    <a:gd name="connsiteX11" fmla="*/ 4355590 w 7545325"/>
                    <a:gd name="connsiteY11" fmla="*/ 1776985 h 2994661"/>
                    <a:gd name="connsiteX12" fmla="*/ 2217418 w 7545325"/>
                    <a:gd name="connsiteY12" fmla="*/ 1789177 h 2994661"/>
                    <a:gd name="connsiteX13" fmla="*/ 2103118 w 7545325"/>
                    <a:gd name="connsiteY13" fmla="*/ 1703833 h 299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45325" h="2994661">
                      <a:moveTo>
                        <a:pt x="2103118" y="1703833"/>
                      </a:moveTo>
                      <a:cubicBezTo>
                        <a:pt x="2004059" y="1335026"/>
                        <a:pt x="1490472" y="-59436"/>
                        <a:pt x="0" y="155449"/>
                      </a:cubicBezTo>
                      <a:cubicBezTo>
                        <a:pt x="0" y="155449"/>
                        <a:pt x="35049" y="25910"/>
                        <a:pt x="1825749" y="0"/>
                      </a:cubicBezTo>
                      <a:lnTo>
                        <a:pt x="6455662" y="0"/>
                      </a:lnTo>
                      <a:cubicBezTo>
                        <a:pt x="6455662" y="0"/>
                        <a:pt x="7176516" y="33528"/>
                        <a:pt x="7479790" y="519685"/>
                      </a:cubicBezTo>
                      <a:cubicBezTo>
                        <a:pt x="7525513" y="592836"/>
                        <a:pt x="7545326" y="678182"/>
                        <a:pt x="7545326" y="763526"/>
                      </a:cubicBezTo>
                      <a:lnTo>
                        <a:pt x="7545326" y="2833118"/>
                      </a:lnTo>
                      <a:cubicBezTo>
                        <a:pt x="7545326" y="2923033"/>
                        <a:pt x="7472172" y="2994662"/>
                        <a:pt x="7383777" y="2994662"/>
                      </a:cubicBezTo>
                      <a:lnTo>
                        <a:pt x="5314188" y="2994662"/>
                      </a:lnTo>
                      <a:cubicBezTo>
                        <a:pt x="5262372" y="2994662"/>
                        <a:pt x="5218175" y="2959610"/>
                        <a:pt x="5207506" y="2910841"/>
                      </a:cubicBezTo>
                      <a:cubicBezTo>
                        <a:pt x="5163313" y="2720341"/>
                        <a:pt x="5030726" y="2246377"/>
                        <a:pt x="4745734" y="1940054"/>
                      </a:cubicBezTo>
                      <a:cubicBezTo>
                        <a:pt x="4645149" y="1831849"/>
                        <a:pt x="4503418" y="1775461"/>
                        <a:pt x="4355590" y="1776985"/>
                      </a:cubicBezTo>
                      <a:cubicBezTo>
                        <a:pt x="3861816" y="1780033"/>
                        <a:pt x="2574034" y="1787654"/>
                        <a:pt x="2217418" y="1789177"/>
                      </a:cubicBezTo>
                      <a:cubicBezTo>
                        <a:pt x="2162556" y="1790700"/>
                        <a:pt x="2116834" y="1755649"/>
                        <a:pt x="2103118" y="1703833"/>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5" name="Graphic 2">
                  <a:extLst>
                    <a:ext uri="{FF2B5EF4-FFF2-40B4-BE49-F238E27FC236}">
                      <a16:creationId xmlns:a16="http://schemas.microsoft.com/office/drawing/2014/main" id="{C5369B8C-1184-4163-BFDD-CCCDA9E8BAB4}"/>
                    </a:ext>
                  </a:extLst>
                </p:cNvPr>
                <p:cNvSpPr/>
                <p:nvPr/>
              </p:nvSpPr>
              <p:spPr>
                <a:xfrm>
                  <a:off x="8237010" y="3223882"/>
                  <a:ext cx="34661" cy="17164"/>
                </a:xfrm>
                <a:custGeom>
                  <a:avLst/>
                  <a:gdLst>
                    <a:gd name="connsiteX0" fmla="*/ 0 w 633984"/>
                    <a:gd name="connsiteY0" fmla="*/ 0 h 313943"/>
                    <a:gd name="connsiteX1" fmla="*/ 0 w 633984"/>
                    <a:gd name="connsiteY1" fmla="*/ 53336 h 313943"/>
                    <a:gd name="connsiteX2" fmla="*/ 0 w 633984"/>
                    <a:gd name="connsiteY2" fmla="*/ 86864 h 313943"/>
                    <a:gd name="connsiteX3" fmla="*/ 0 w 633984"/>
                    <a:gd name="connsiteY3" fmla="*/ 102105 h 313943"/>
                    <a:gd name="connsiteX4" fmla="*/ 0 w 633984"/>
                    <a:gd name="connsiteY4" fmla="*/ 140205 h 313943"/>
                    <a:gd name="connsiteX5" fmla="*/ 0 w 633984"/>
                    <a:gd name="connsiteY5" fmla="*/ 188975 h 313943"/>
                    <a:gd name="connsiteX6" fmla="*/ 166120 w 633984"/>
                    <a:gd name="connsiteY6" fmla="*/ 228600 h 313943"/>
                    <a:gd name="connsiteX7" fmla="*/ 166120 w 633984"/>
                    <a:gd name="connsiteY7" fmla="*/ 243836 h 313943"/>
                    <a:gd name="connsiteX8" fmla="*/ 166120 w 633984"/>
                    <a:gd name="connsiteY8" fmla="*/ 251459 h 313943"/>
                    <a:gd name="connsiteX9" fmla="*/ 166120 w 633984"/>
                    <a:gd name="connsiteY9" fmla="*/ 269746 h 313943"/>
                    <a:gd name="connsiteX10" fmla="*/ 166120 w 633984"/>
                    <a:gd name="connsiteY10" fmla="*/ 292605 h 313943"/>
                    <a:gd name="connsiteX11" fmla="*/ 316995 w 633984"/>
                    <a:gd name="connsiteY11" fmla="*/ 313944 h 313943"/>
                    <a:gd name="connsiteX12" fmla="*/ 467869 w 633984"/>
                    <a:gd name="connsiteY12" fmla="*/ 292605 h 313943"/>
                    <a:gd name="connsiteX13" fmla="*/ 467869 w 633984"/>
                    <a:gd name="connsiteY13" fmla="*/ 269746 h 313943"/>
                    <a:gd name="connsiteX14" fmla="*/ 467869 w 633984"/>
                    <a:gd name="connsiteY14" fmla="*/ 251459 h 313943"/>
                    <a:gd name="connsiteX15" fmla="*/ 467869 w 633984"/>
                    <a:gd name="connsiteY15" fmla="*/ 243836 h 313943"/>
                    <a:gd name="connsiteX16" fmla="*/ 467869 w 633984"/>
                    <a:gd name="connsiteY16" fmla="*/ 228600 h 313943"/>
                    <a:gd name="connsiteX17" fmla="*/ 633985 w 633984"/>
                    <a:gd name="connsiteY17" fmla="*/ 188975 h 313943"/>
                    <a:gd name="connsiteX18" fmla="*/ 633985 w 633984"/>
                    <a:gd name="connsiteY18" fmla="*/ 140205 h 313943"/>
                    <a:gd name="connsiteX19" fmla="*/ 633985 w 633984"/>
                    <a:gd name="connsiteY19" fmla="*/ 102105 h 313943"/>
                    <a:gd name="connsiteX20" fmla="*/ 633985 w 633984"/>
                    <a:gd name="connsiteY20" fmla="*/ 86864 h 313943"/>
                    <a:gd name="connsiteX21" fmla="*/ 633985 w 633984"/>
                    <a:gd name="connsiteY21" fmla="*/ 53336 h 313943"/>
                    <a:gd name="connsiteX22" fmla="*/ 633985 w 633984"/>
                    <a:gd name="connsiteY22" fmla="*/ 0 h 313943"/>
                    <a:gd name="connsiteX23" fmla="*/ 0 w 633984"/>
                    <a:gd name="connsiteY23" fmla="*/ 0 h 31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984" h="313943">
                      <a:moveTo>
                        <a:pt x="0" y="0"/>
                      </a:moveTo>
                      <a:lnTo>
                        <a:pt x="0" y="53336"/>
                      </a:lnTo>
                      <a:lnTo>
                        <a:pt x="0" y="86864"/>
                      </a:lnTo>
                      <a:lnTo>
                        <a:pt x="0" y="102105"/>
                      </a:lnTo>
                      <a:lnTo>
                        <a:pt x="0" y="140205"/>
                      </a:lnTo>
                      <a:lnTo>
                        <a:pt x="0" y="188975"/>
                      </a:lnTo>
                      <a:cubicBezTo>
                        <a:pt x="0" y="205736"/>
                        <a:pt x="67056" y="220977"/>
                        <a:pt x="166120" y="228600"/>
                      </a:cubicBezTo>
                      <a:lnTo>
                        <a:pt x="166120" y="243836"/>
                      </a:lnTo>
                      <a:lnTo>
                        <a:pt x="166120" y="251459"/>
                      </a:lnTo>
                      <a:lnTo>
                        <a:pt x="166120" y="269746"/>
                      </a:lnTo>
                      <a:lnTo>
                        <a:pt x="166120" y="292605"/>
                      </a:lnTo>
                      <a:cubicBezTo>
                        <a:pt x="166120" y="304800"/>
                        <a:pt x="233172" y="313944"/>
                        <a:pt x="316995" y="313944"/>
                      </a:cubicBezTo>
                      <a:cubicBezTo>
                        <a:pt x="400813" y="313944"/>
                        <a:pt x="467869" y="304800"/>
                        <a:pt x="467869" y="292605"/>
                      </a:cubicBezTo>
                      <a:lnTo>
                        <a:pt x="467869" y="269746"/>
                      </a:lnTo>
                      <a:lnTo>
                        <a:pt x="467869" y="251459"/>
                      </a:lnTo>
                      <a:lnTo>
                        <a:pt x="467869" y="243836"/>
                      </a:lnTo>
                      <a:lnTo>
                        <a:pt x="467869" y="228600"/>
                      </a:lnTo>
                      <a:cubicBezTo>
                        <a:pt x="566928" y="220977"/>
                        <a:pt x="633985" y="205736"/>
                        <a:pt x="633985" y="188975"/>
                      </a:cubicBezTo>
                      <a:lnTo>
                        <a:pt x="633985" y="140205"/>
                      </a:lnTo>
                      <a:lnTo>
                        <a:pt x="633985" y="102105"/>
                      </a:lnTo>
                      <a:lnTo>
                        <a:pt x="633985" y="86864"/>
                      </a:lnTo>
                      <a:lnTo>
                        <a:pt x="633985" y="53336"/>
                      </a:lnTo>
                      <a:lnTo>
                        <a:pt x="633985"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6" name="Graphic 2">
                  <a:extLst>
                    <a:ext uri="{FF2B5EF4-FFF2-40B4-BE49-F238E27FC236}">
                      <a16:creationId xmlns:a16="http://schemas.microsoft.com/office/drawing/2014/main" id="{C25B0BF6-1C0F-42C1-8113-362FCAF7997D}"/>
                    </a:ext>
                  </a:extLst>
                </p:cNvPr>
                <p:cNvSpPr/>
                <p:nvPr/>
              </p:nvSpPr>
              <p:spPr>
                <a:xfrm>
                  <a:off x="8075871" y="3128064"/>
                  <a:ext cx="229711" cy="104817"/>
                </a:xfrm>
                <a:custGeom>
                  <a:avLst/>
                  <a:gdLst>
                    <a:gd name="connsiteX0" fmla="*/ 9144 w 4201669"/>
                    <a:gd name="connsiteY0" fmla="*/ 1848608 h 1917189"/>
                    <a:gd name="connsiteX1" fmla="*/ 4075179 w 4201669"/>
                    <a:gd name="connsiteY1" fmla="*/ 1917190 h 1917189"/>
                    <a:gd name="connsiteX2" fmla="*/ 4201669 w 4201669"/>
                    <a:gd name="connsiteY2" fmla="*/ 905256 h 1917189"/>
                    <a:gd name="connsiteX3" fmla="*/ 4085844 w 4201669"/>
                    <a:gd name="connsiteY3" fmla="*/ 0 h 1917189"/>
                    <a:gd name="connsiteX4" fmla="*/ 0 w 4201669"/>
                    <a:gd name="connsiteY4" fmla="*/ 749805 h 1917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1669" h="1917189">
                      <a:moveTo>
                        <a:pt x="9144" y="1848608"/>
                      </a:moveTo>
                      <a:lnTo>
                        <a:pt x="4075179" y="1917190"/>
                      </a:lnTo>
                      <a:lnTo>
                        <a:pt x="4201669" y="905256"/>
                      </a:lnTo>
                      <a:lnTo>
                        <a:pt x="4085844" y="0"/>
                      </a:lnTo>
                      <a:lnTo>
                        <a:pt x="0" y="74980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7" name="Graphic 2">
                  <a:extLst>
                    <a:ext uri="{FF2B5EF4-FFF2-40B4-BE49-F238E27FC236}">
                      <a16:creationId xmlns:a16="http://schemas.microsoft.com/office/drawing/2014/main" id="{625032D4-0B44-4E59-AB5D-EEAAD3891DFF}"/>
                    </a:ext>
                  </a:extLst>
                </p:cNvPr>
                <p:cNvSpPr/>
                <p:nvPr/>
              </p:nvSpPr>
              <p:spPr>
                <a:xfrm>
                  <a:off x="8229345" y="3113566"/>
                  <a:ext cx="45659" cy="17164"/>
                </a:xfrm>
                <a:custGeom>
                  <a:avLst/>
                  <a:gdLst>
                    <a:gd name="connsiteX0" fmla="*/ 0 w 835153"/>
                    <a:gd name="connsiteY0" fmla="*/ 0 h 313943"/>
                    <a:gd name="connsiteX1" fmla="*/ 0 w 835153"/>
                    <a:gd name="connsiteY1" fmla="*/ 210313 h 313943"/>
                    <a:gd name="connsiteX2" fmla="*/ 417575 w 835153"/>
                    <a:gd name="connsiteY2" fmla="*/ 313944 h 313943"/>
                    <a:gd name="connsiteX3" fmla="*/ 835154 w 835153"/>
                    <a:gd name="connsiteY3" fmla="*/ 210313 h 313943"/>
                    <a:gd name="connsiteX4" fmla="*/ 835154 w 835153"/>
                    <a:gd name="connsiteY4" fmla="*/ 0 h 313943"/>
                    <a:gd name="connsiteX5" fmla="*/ 0 w 835153"/>
                    <a:gd name="connsiteY5" fmla="*/ 0 h 31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153" h="313943">
                      <a:moveTo>
                        <a:pt x="0" y="0"/>
                      </a:moveTo>
                      <a:lnTo>
                        <a:pt x="0" y="210313"/>
                      </a:lnTo>
                      <a:cubicBezTo>
                        <a:pt x="0" y="268226"/>
                        <a:pt x="187454" y="313944"/>
                        <a:pt x="417575" y="313944"/>
                      </a:cubicBezTo>
                      <a:cubicBezTo>
                        <a:pt x="649226" y="313944"/>
                        <a:pt x="835154" y="268226"/>
                        <a:pt x="835154" y="210313"/>
                      </a:cubicBezTo>
                      <a:lnTo>
                        <a:pt x="835154" y="0"/>
                      </a:lnTo>
                      <a:lnTo>
                        <a:pt x="0"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2068" name="Graphic 2">
                  <a:extLst>
                    <a:ext uri="{FF2B5EF4-FFF2-40B4-BE49-F238E27FC236}">
                      <a16:creationId xmlns:a16="http://schemas.microsoft.com/office/drawing/2014/main" id="{8838C861-1A31-41FD-B4A5-8A67853CFFED}"/>
                    </a:ext>
                  </a:extLst>
                </p:cNvPr>
                <p:cNvSpPr/>
                <p:nvPr/>
              </p:nvSpPr>
              <p:spPr>
                <a:xfrm>
                  <a:off x="8229428" y="3107900"/>
                  <a:ext cx="45659" cy="11332"/>
                </a:xfrm>
                <a:custGeom>
                  <a:avLst/>
                  <a:gdLst>
                    <a:gd name="connsiteX0" fmla="*/ 835151 w 835152"/>
                    <a:gd name="connsiteY0" fmla="*/ 103631 h 207264"/>
                    <a:gd name="connsiteX1" fmla="*/ 417577 w 835152"/>
                    <a:gd name="connsiteY1" fmla="*/ 207261 h 207264"/>
                    <a:gd name="connsiteX2" fmla="*/ 2 w 835152"/>
                    <a:gd name="connsiteY2" fmla="*/ 103631 h 207264"/>
                    <a:gd name="connsiteX3" fmla="*/ 417577 w 835152"/>
                    <a:gd name="connsiteY3" fmla="*/ 0 h 207264"/>
                    <a:gd name="connsiteX4" fmla="*/ 835151 w 835152"/>
                    <a:gd name="connsiteY4" fmla="*/ 103631 h 207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152" h="207264">
                      <a:moveTo>
                        <a:pt x="835151" y="103631"/>
                      </a:moveTo>
                      <a:cubicBezTo>
                        <a:pt x="835151" y="160864"/>
                        <a:pt x="648195" y="207261"/>
                        <a:pt x="417577" y="207261"/>
                      </a:cubicBezTo>
                      <a:cubicBezTo>
                        <a:pt x="186953" y="207261"/>
                        <a:pt x="2" y="160864"/>
                        <a:pt x="2" y="103631"/>
                      </a:cubicBezTo>
                      <a:cubicBezTo>
                        <a:pt x="2" y="46397"/>
                        <a:pt x="186958" y="0"/>
                        <a:pt x="417577" y="0"/>
                      </a:cubicBezTo>
                      <a:cubicBezTo>
                        <a:pt x="648200" y="0"/>
                        <a:pt x="835151" y="46397"/>
                        <a:pt x="835151" y="103631"/>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84" name="Group 783">
                <a:extLst>
                  <a:ext uri="{FF2B5EF4-FFF2-40B4-BE49-F238E27FC236}">
                    <a16:creationId xmlns:a16="http://schemas.microsoft.com/office/drawing/2014/main" id="{FABD65DF-4730-4C13-BFD6-3CAF5F0F706C}"/>
                  </a:ext>
                </a:extLst>
              </p:cNvPr>
              <p:cNvGrpSpPr/>
              <p:nvPr/>
            </p:nvGrpSpPr>
            <p:grpSpPr>
              <a:xfrm>
                <a:off x="3756666" y="3628976"/>
                <a:ext cx="319102" cy="374241"/>
                <a:chOff x="3756666" y="3628976"/>
                <a:chExt cx="319102" cy="374241"/>
              </a:xfrm>
            </p:grpSpPr>
            <p:sp>
              <p:nvSpPr>
                <p:cNvPr id="1992" name="Graphic 2">
                  <a:extLst>
                    <a:ext uri="{FF2B5EF4-FFF2-40B4-BE49-F238E27FC236}">
                      <a16:creationId xmlns:a16="http://schemas.microsoft.com/office/drawing/2014/main" id="{C493CDB6-2D85-4784-BE28-2E3D2AA7BDEA}"/>
                    </a:ext>
                  </a:extLst>
                </p:cNvPr>
                <p:cNvSpPr/>
                <p:nvPr/>
              </p:nvSpPr>
              <p:spPr>
                <a:xfrm>
                  <a:off x="3931448" y="3697070"/>
                  <a:ext cx="144320" cy="306147"/>
                </a:xfrm>
                <a:custGeom>
                  <a:avLst/>
                  <a:gdLst>
                    <a:gd name="connsiteX0" fmla="*/ 25908 w 3191255"/>
                    <a:gd name="connsiteY0" fmla="*/ 569975 h 6769607"/>
                    <a:gd name="connsiteX1" fmla="*/ 3191256 w 3191255"/>
                    <a:gd name="connsiteY1" fmla="*/ 0 h 6769607"/>
                    <a:gd name="connsiteX2" fmla="*/ 3191256 w 3191255"/>
                    <a:gd name="connsiteY2" fmla="*/ 5731764 h 6769607"/>
                    <a:gd name="connsiteX3" fmla="*/ 0 w 3191255"/>
                    <a:gd name="connsiteY3" fmla="*/ 6769608 h 6769607"/>
                  </a:gdLst>
                  <a:ahLst/>
                  <a:cxnLst>
                    <a:cxn ang="0">
                      <a:pos x="connsiteX0" y="connsiteY0"/>
                    </a:cxn>
                    <a:cxn ang="0">
                      <a:pos x="connsiteX1" y="connsiteY1"/>
                    </a:cxn>
                    <a:cxn ang="0">
                      <a:pos x="connsiteX2" y="connsiteY2"/>
                    </a:cxn>
                    <a:cxn ang="0">
                      <a:pos x="connsiteX3" y="connsiteY3"/>
                    </a:cxn>
                  </a:cxnLst>
                  <a:rect l="l" t="t" r="r" b="b"/>
                  <a:pathLst>
                    <a:path w="3191255" h="6769607">
                      <a:moveTo>
                        <a:pt x="25908" y="569975"/>
                      </a:moveTo>
                      <a:lnTo>
                        <a:pt x="3191256" y="0"/>
                      </a:lnTo>
                      <a:lnTo>
                        <a:pt x="3191256" y="5731764"/>
                      </a:lnTo>
                      <a:lnTo>
                        <a:pt x="0" y="6769608"/>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3" name="Graphic 2">
                  <a:extLst>
                    <a:ext uri="{FF2B5EF4-FFF2-40B4-BE49-F238E27FC236}">
                      <a16:creationId xmlns:a16="http://schemas.microsoft.com/office/drawing/2014/main" id="{5DF06446-F930-4A3E-9A5B-9A8BEF399BDC}"/>
                    </a:ext>
                  </a:extLst>
                </p:cNvPr>
                <p:cNvSpPr/>
                <p:nvPr/>
              </p:nvSpPr>
              <p:spPr>
                <a:xfrm>
                  <a:off x="3756666" y="3628976"/>
                  <a:ext cx="319102" cy="93870"/>
                </a:xfrm>
                <a:custGeom>
                  <a:avLst/>
                  <a:gdLst>
                    <a:gd name="connsiteX0" fmla="*/ 0 w 7056119"/>
                    <a:gd name="connsiteY0" fmla="*/ 597408 h 2075687"/>
                    <a:gd name="connsiteX1" fmla="*/ 3890772 w 7056119"/>
                    <a:gd name="connsiteY1" fmla="*/ 2075687 h 2075687"/>
                    <a:gd name="connsiteX2" fmla="*/ 7056120 w 7056119"/>
                    <a:gd name="connsiteY2" fmla="*/ 1505713 h 2075687"/>
                    <a:gd name="connsiteX3" fmla="*/ 3087624 w 7056119"/>
                    <a:gd name="connsiteY3" fmla="*/ 0 h 2075687"/>
                  </a:gdLst>
                  <a:ahLst/>
                  <a:cxnLst>
                    <a:cxn ang="0">
                      <a:pos x="connsiteX0" y="connsiteY0"/>
                    </a:cxn>
                    <a:cxn ang="0">
                      <a:pos x="connsiteX1" y="connsiteY1"/>
                    </a:cxn>
                    <a:cxn ang="0">
                      <a:pos x="connsiteX2" y="connsiteY2"/>
                    </a:cxn>
                    <a:cxn ang="0">
                      <a:pos x="connsiteX3" y="connsiteY3"/>
                    </a:cxn>
                  </a:cxnLst>
                  <a:rect l="l" t="t" r="r" b="b"/>
                  <a:pathLst>
                    <a:path w="7056119" h="2075687">
                      <a:moveTo>
                        <a:pt x="0" y="597408"/>
                      </a:moveTo>
                      <a:lnTo>
                        <a:pt x="3890772" y="2075687"/>
                      </a:lnTo>
                      <a:lnTo>
                        <a:pt x="7056120" y="1505713"/>
                      </a:lnTo>
                      <a:lnTo>
                        <a:pt x="3087624"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4" name="Graphic 2">
                  <a:extLst>
                    <a:ext uri="{FF2B5EF4-FFF2-40B4-BE49-F238E27FC236}">
                      <a16:creationId xmlns:a16="http://schemas.microsoft.com/office/drawing/2014/main" id="{26AE9345-0458-4548-B34B-3CDEB5BB974F}"/>
                    </a:ext>
                  </a:extLst>
                </p:cNvPr>
                <p:cNvSpPr/>
                <p:nvPr/>
              </p:nvSpPr>
              <p:spPr>
                <a:xfrm>
                  <a:off x="3756666" y="3655993"/>
                  <a:ext cx="175954" cy="347224"/>
                </a:xfrm>
                <a:custGeom>
                  <a:avLst/>
                  <a:gdLst>
                    <a:gd name="connsiteX0" fmla="*/ 51816 w 3890772"/>
                    <a:gd name="connsiteY0" fmla="*/ 6044185 h 7677912"/>
                    <a:gd name="connsiteX1" fmla="*/ 3864864 w 3890772"/>
                    <a:gd name="connsiteY1" fmla="*/ 7677913 h 7677912"/>
                    <a:gd name="connsiteX2" fmla="*/ 3890772 w 3890772"/>
                    <a:gd name="connsiteY2" fmla="*/ 1478280 h 7677912"/>
                    <a:gd name="connsiteX3" fmla="*/ 0 w 3890772"/>
                    <a:gd name="connsiteY3" fmla="*/ 0 h 7677912"/>
                  </a:gdLst>
                  <a:ahLst/>
                  <a:cxnLst>
                    <a:cxn ang="0">
                      <a:pos x="connsiteX0" y="connsiteY0"/>
                    </a:cxn>
                    <a:cxn ang="0">
                      <a:pos x="connsiteX1" y="connsiteY1"/>
                    </a:cxn>
                    <a:cxn ang="0">
                      <a:pos x="connsiteX2" y="connsiteY2"/>
                    </a:cxn>
                    <a:cxn ang="0">
                      <a:pos x="connsiteX3" y="connsiteY3"/>
                    </a:cxn>
                  </a:cxnLst>
                  <a:rect l="l" t="t" r="r" b="b"/>
                  <a:pathLst>
                    <a:path w="3890772" h="7677912">
                      <a:moveTo>
                        <a:pt x="51816" y="6044185"/>
                      </a:moveTo>
                      <a:lnTo>
                        <a:pt x="3864864" y="7677913"/>
                      </a:lnTo>
                      <a:lnTo>
                        <a:pt x="3890772" y="147828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5" name="Graphic 2">
                  <a:extLst>
                    <a:ext uri="{FF2B5EF4-FFF2-40B4-BE49-F238E27FC236}">
                      <a16:creationId xmlns:a16="http://schemas.microsoft.com/office/drawing/2014/main" id="{538D4A8F-4D88-4393-A91B-C9B6605BCEAB}"/>
                    </a:ext>
                  </a:extLst>
                </p:cNvPr>
                <p:cNvSpPr/>
                <p:nvPr/>
              </p:nvSpPr>
              <p:spPr>
                <a:xfrm>
                  <a:off x="3952331" y="3735459"/>
                  <a:ext cx="41559" cy="33702"/>
                </a:xfrm>
                <a:custGeom>
                  <a:avLst/>
                  <a:gdLst>
                    <a:gd name="connsiteX0" fmla="*/ 1524 w 918971"/>
                    <a:gd name="connsiteY0" fmla="*/ 164592 h 745235"/>
                    <a:gd name="connsiteX1" fmla="*/ 918972 w 918971"/>
                    <a:gd name="connsiteY1" fmla="*/ 0 h 745235"/>
                    <a:gd name="connsiteX2" fmla="*/ 908304 w 918971"/>
                    <a:gd name="connsiteY2" fmla="*/ 560833 h 745235"/>
                    <a:gd name="connsiteX3" fmla="*/ 0 w 918971"/>
                    <a:gd name="connsiteY3" fmla="*/ 745236 h 745235"/>
                  </a:gdLst>
                  <a:ahLst/>
                  <a:cxnLst>
                    <a:cxn ang="0">
                      <a:pos x="connsiteX0" y="connsiteY0"/>
                    </a:cxn>
                    <a:cxn ang="0">
                      <a:pos x="connsiteX1" y="connsiteY1"/>
                    </a:cxn>
                    <a:cxn ang="0">
                      <a:pos x="connsiteX2" y="connsiteY2"/>
                    </a:cxn>
                    <a:cxn ang="0">
                      <a:pos x="connsiteX3" y="connsiteY3"/>
                    </a:cxn>
                  </a:cxnLst>
                  <a:rect l="l" t="t" r="r" b="b"/>
                  <a:pathLst>
                    <a:path w="918971" h="745235">
                      <a:moveTo>
                        <a:pt x="1524" y="164592"/>
                      </a:moveTo>
                      <a:lnTo>
                        <a:pt x="918972" y="0"/>
                      </a:lnTo>
                      <a:lnTo>
                        <a:pt x="908304" y="560833"/>
                      </a:lnTo>
                      <a:lnTo>
                        <a:pt x="0" y="745236"/>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6" name="Graphic 2">
                  <a:extLst>
                    <a:ext uri="{FF2B5EF4-FFF2-40B4-BE49-F238E27FC236}">
                      <a16:creationId xmlns:a16="http://schemas.microsoft.com/office/drawing/2014/main" id="{9531F786-8835-4FC6-97C4-AD9657B9754D}"/>
                    </a:ext>
                  </a:extLst>
                </p:cNvPr>
                <p:cNvSpPr/>
                <p:nvPr/>
              </p:nvSpPr>
              <p:spPr>
                <a:xfrm>
                  <a:off x="3932207" y="3783083"/>
                  <a:ext cx="143561" cy="34116"/>
                </a:xfrm>
                <a:custGeom>
                  <a:avLst/>
                  <a:gdLst>
                    <a:gd name="connsiteX0" fmla="*/ 3174492 w 3174491"/>
                    <a:gd name="connsiteY0" fmla="*/ 0 h 754379"/>
                    <a:gd name="connsiteX1" fmla="*/ 0 w 3174491"/>
                    <a:gd name="connsiteY1" fmla="*/ 626364 h 754379"/>
                    <a:gd name="connsiteX2" fmla="*/ 0 w 3174491"/>
                    <a:gd name="connsiteY2" fmla="*/ 754380 h 754379"/>
                    <a:gd name="connsiteX3" fmla="*/ 3174492 w 3174491"/>
                    <a:gd name="connsiteY3" fmla="*/ 123444 h 754379"/>
                  </a:gdLst>
                  <a:ahLst/>
                  <a:cxnLst>
                    <a:cxn ang="0">
                      <a:pos x="connsiteX0" y="connsiteY0"/>
                    </a:cxn>
                    <a:cxn ang="0">
                      <a:pos x="connsiteX1" y="connsiteY1"/>
                    </a:cxn>
                    <a:cxn ang="0">
                      <a:pos x="connsiteX2" y="connsiteY2"/>
                    </a:cxn>
                    <a:cxn ang="0">
                      <a:pos x="connsiteX3" y="connsiteY3"/>
                    </a:cxn>
                  </a:cxnLst>
                  <a:rect l="l" t="t" r="r" b="b"/>
                  <a:pathLst>
                    <a:path w="3174491" h="754379">
                      <a:moveTo>
                        <a:pt x="3174492" y="0"/>
                      </a:moveTo>
                      <a:lnTo>
                        <a:pt x="0" y="626364"/>
                      </a:lnTo>
                      <a:lnTo>
                        <a:pt x="0" y="754380"/>
                      </a:lnTo>
                      <a:lnTo>
                        <a:pt x="3174492" y="123444"/>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7" name="Graphic 2">
                  <a:extLst>
                    <a:ext uri="{FF2B5EF4-FFF2-40B4-BE49-F238E27FC236}">
                      <a16:creationId xmlns:a16="http://schemas.microsoft.com/office/drawing/2014/main" id="{2E59BDCA-0E2C-4265-9A54-AD7C02F061A8}"/>
                    </a:ext>
                  </a:extLst>
                </p:cNvPr>
                <p:cNvSpPr/>
                <p:nvPr/>
              </p:nvSpPr>
              <p:spPr>
                <a:xfrm>
                  <a:off x="3931655" y="3908657"/>
                  <a:ext cx="144113" cy="46177"/>
                </a:xfrm>
                <a:custGeom>
                  <a:avLst/>
                  <a:gdLst>
                    <a:gd name="connsiteX0" fmla="*/ 3186684 w 3186683"/>
                    <a:gd name="connsiteY0" fmla="*/ 0 h 1021079"/>
                    <a:gd name="connsiteX1" fmla="*/ 0 w 3186683"/>
                    <a:gd name="connsiteY1" fmla="*/ 893064 h 1021079"/>
                    <a:gd name="connsiteX2" fmla="*/ 0 w 3186683"/>
                    <a:gd name="connsiteY2" fmla="*/ 1021080 h 1021079"/>
                    <a:gd name="connsiteX3" fmla="*/ 3186684 w 3186683"/>
                    <a:gd name="connsiteY3" fmla="*/ 114300 h 1021079"/>
                  </a:gdLst>
                  <a:ahLst/>
                  <a:cxnLst>
                    <a:cxn ang="0">
                      <a:pos x="connsiteX0" y="connsiteY0"/>
                    </a:cxn>
                    <a:cxn ang="0">
                      <a:pos x="connsiteX1" y="connsiteY1"/>
                    </a:cxn>
                    <a:cxn ang="0">
                      <a:pos x="connsiteX2" y="connsiteY2"/>
                    </a:cxn>
                    <a:cxn ang="0">
                      <a:pos x="connsiteX3" y="connsiteY3"/>
                    </a:cxn>
                  </a:cxnLst>
                  <a:rect l="l" t="t" r="r" b="b"/>
                  <a:pathLst>
                    <a:path w="3186683" h="1021079">
                      <a:moveTo>
                        <a:pt x="3186684" y="0"/>
                      </a:moveTo>
                      <a:lnTo>
                        <a:pt x="0" y="893064"/>
                      </a:lnTo>
                      <a:lnTo>
                        <a:pt x="0" y="1021080"/>
                      </a:lnTo>
                      <a:lnTo>
                        <a:pt x="3186684" y="11430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85" name="Group 784">
                <a:extLst>
                  <a:ext uri="{FF2B5EF4-FFF2-40B4-BE49-F238E27FC236}">
                    <a16:creationId xmlns:a16="http://schemas.microsoft.com/office/drawing/2014/main" id="{F8A295CF-E99B-4746-B4BC-B596F272CEE7}"/>
                  </a:ext>
                </a:extLst>
              </p:cNvPr>
              <p:cNvGrpSpPr/>
              <p:nvPr/>
            </p:nvGrpSpPr>
            <p:grpSpPr>
              <a:xfrm>
                <a:off x="3756666" y="4444390"/>
                <a:ext cx="319102" cy="374241"/>
                <a:chOff x="3756666" y="4444390"/>
                <a:chExt cx="319102" cy="374241"/>
              </a:xfrm>
            </p:grpSpPr>
            <p:sp>
              <p:nvSpPr>
                <p:cNvPr id="1986" name="Graphic 2">
                  <a:extLst>
                    <a:ext uri="{FF2B5EF4-FFF2-40B4-BE49-F238E27FC236}">
                      <a16:creationId xmlns:a16="http://schemas.microsoft.com/office/drawing/2014/main" id="{AA28FE2D-8A31-4472-BA97-74DAF9DFB8F1}"/>
                    </a:ext>
                  </a:extLst>
                </p:cNvPr>
                <p:cNvSpPr/>
                <p:nvPr/>
              </p:nvSpPr>
              <p:spPr>
                <a:xfrm>
                  <a:off x="3931448" y="4512484"/>
                  <a:ext cx="144320" cy="306147"/>
                </a:xfrm>
                <a:custGeom>
                  <a:avLst/>
                  <a:gdLst>
                    <a:gd name="connsiteX0" fmla="*/ 25908 w 3191255"/>
                    <a:gd name="connsiteY0" fmla="*/ 569975 h 6769607"/>
                    <a:gd name="connsiteX1" fmla="*/ 3191256 w 3191255"/>
                    <a:gd name="connsiteY1" fmla="*/ 0 h 6769607"/>
                    <a:gd name="connsiteX2" fmla="*/ 3191256 w 3191255"/>
                    <a:gd name="connsiteY2" fmla="*/ 5731764 h 6769607"/>
                    <a:gd name="connsiteX3" fmla="*/ 0 w 3191255"/>
                    <a:gd name="connsiteY3" fmla="*/ 6769608 h 6769607"/>
                  </a:gdLst>
                  <a:ahLst/>
                  <a:cxnLst>
                    <a:cxn ang="0">
                      <a:pos x="connsiteX0" y="connsiteY0"/>
                    </a:cxn>
                    <a:cxn ang="0">
                      <a:pos x="connsiteX1" y="connsiteY1"/>
                    </a:cxn>
                    <a:cxn ang="0">
                      <a:pos x="connsiteX2" y="connsiteY2"/>
                    </a:cxn>
                    <a:cxn ang="0">
                      <a:pos x="connsiteX3" y="connsiteY3"/>
                    </a:cxn>
                  </a:cxnLst>
                  <a:rect l="l" t="t" r="r" b="b"/>
                  <a:pathLst>
                    <a:path w="3191255" h="6769607">
                      <a:moveTo>
                        <a:pt x="25908" y="569975"/>
                      </a:moveTo>
                      <a:lnTo>
                        <a:pt x="3191256" y="0"/>
                      </a:lnTo>
                      <a:lnTo>
                        <a:pt x="3191256" y="5731764"/>
                      </a:lnTo>
                      <a:lnTo>
                        <a:pt x="0" y="6769608"/>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7" name="Graphic 2">
                  <a:extLst>
                    <a:ext uri="{FF2B5EF4-FFF2-40B4-BE49-F238E27FC236}">
                      <a16:creationId xmlns:a16="http://schemas.microsoft.com/office/drawing/2014/main" id="{1A8302BC-AC60-4DBF-A61A-CD6C8381033C}"/>
                    </a:ext>
                  </a:extLst>
                </p:cNvPr>
                <p:cNvSpPr/>
                <p:nvPr/>
              </p:nvSpPr>
              <p:spPr>
                <a:xfrm>
                  <a:off x="3756666" y="4444390"/>
                  <a:ext cx="319102" cy="93870"/>
                </a:xfrm>
                <a:custGeom>
                  <a:avLst/>
                  <a:gdLst>
                    <a:gd name="connsiteX0" fmla="*/ 0 w 7056119"/>
                    <a:gd name="connsiteY0" fmla="*/ 597408 h 2075687"/>
                    <a:gd name="connsiteX1" fmla="*/ 3890772 w 7056119"/>
                    <a:gd name="connsiteY1" fmla="*/ 2075687 h 2075687"/>
                    <a:gd name="connsiteX2" fmla="*/ 7056120 w 7056119"/>
                    <a:gd name="connsiteY2" fmla="*/ 1505713 h 2075687"/>
                    <a:gd name="connsiteX3" fmla="*/ 3087624 w 7056119"/>
                    <a:gd name="connsiteY3" fmla="*/ 0 h 2075687"/>
                  </a:gdLst>
                  <a:ahLst/>
                  <a:cxnLst>
                    <a:cxn ang="0">
                      <a:pos x="connsiteX0" y="connsiteY0"/>
                    </a:cxn>
                    <a:cxn ang="0">
                      <a:pos x="connsiteX1" y="connsiteY1"/>
                    </a:cxn>
                    <a:cxn ang="0">
                      <a:pos x="connsiteX2" y="connsiteY2"/>
                    </a:cxn>
                    <a:cxn ang="0">
                      <a:pos x="connsiteX3" y="connsiteY3"/>
                    </a:cxn>
                  </a:cxnLst>
                  <a:rect l="l" t="t" r="r" b="b"/>
                  <a:pathLst>
                    <a:path w="7056119" h="2075687">
                      <a:moveTo>
                        <a:pt x="0" y="597408"/>
                      </a:moveTo>
                      <a:lnTo>
                        <a:pt x="3890772" y="2075687"/>
                      </a:lnTo>
                      <a:lnTo>
                        <a:pt x="7056120" y="1505713"/>
                      </a:lnTo>
                      <a:lnTo>
                        <a:pt x="3087624"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8" name="Graphic 2">
                  <a:extLst>
                    <a:ext uri="{FF2B5EF4-FFF2-40B4-BE49-F238E27FC236}">
                      <a16:creationId xmlns:a16="http://schemas.microsoft.com/office/drawing/2014/main" id="{2BE1F74A-0C5B-418F-A109-CE811DD2C042}"/>
                    </a:ext>
                  </a:extLst>
                </p:cNvPr>
                <p:cNvSpPr/>
                <p:nvPr/>
              </p:nvSpPr>
              <p:spPr>
                <a:xfrm>
                  <a:off x="3756666" y="4471407"/>
                  <a:ext cx="175954" cy="347224"/>
                </a:xfrm>
                <a:custGeom>
                  <a:avLst/>
                  <a:gdLst>
                    <a:gd name="connsiteX0" fmla="*/ 51816 w 3890772"/>
                    <a:gd name="connsiteY0" fmla="*/ 6044185 h 7677912"/>
                    <a:gd name="connsiteX1" fmla="*/ 3864864 w 3890772"/>
                    <a:gd name="connsiteY1" fmla="*/ 7677913 h 7677912"/>
                    <a:gd name="connsiteX2" fmla="*/ 3890772 w 3890772"/>
                    <a:gd name="connsiteY2" fmla="*/ 1478280 h 7677912"/>
                    <a:gd name="connsiteX3" fmla="*/ 0 w 3890772"/>
                    <a:gd name="connsiteY3" fmla="*/ 0 h 7677912"/>
                  </a:gdLst>
                  <a:ahLst/>
                  <a:cxnLst>
                    <a:cxn ang="0">
                      <a:pos x="connsiteX0" y="connsiteY0"/>
                    </a:cxn>
                    <a:cxn ang="0">
                      <a:pos x="connsiteX1" y="connsiteY1"/>
                    </a:cxn>
                    <a:cxn ang="0">
                      <a:pos x="connsiteX2" y="connsiteY2"/>
                    </a:cxn>
                    <a:cxn ang="0">
                      <a:pos x="connsiteX3" y="connsiteY3"/>
                    </a:cxn>
                  </a:cxnLst>
                  <a:rect l="l" t="t" r="r" b="b"/>
                  <a:pathLst>
                    <a:path w="3890772" h="7677912">
                      <a:moveTo>
                        <a:pt x="51816" y="6044185"/>
                      </a:moveTo>
                      <a:lnTo>
                        <a:pt x="3864864" y="7677913"/>
                      </a:lnTo>
                      <a:lnTo>
                        <a:pt x="3890772" y="147828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9" name="Graphic 2">
                  <a:extLst>
                    <a:ext uri="{FF2B5EF4-FFF2-40B4-BE49-F238E27FC236}">
                      <a16:creationId xmlns:a16="http://schemas.microsoft.com/office/drawing/2014/main" id="{F0EB1D38-5AB2-4052-8049-DE2276E04FEA}"/>
                    </a:ext>
                  </a:extLst>
                </p:cNvPr>
                <p:cNvSpPr/>
                <p:nvPr/>
              </p:nvSpPr>
              <p:spPr>
                <a:xfrm>
                  <a:off x="3952331" y="4550873"/>
                  <a:ext cx="41559" cy="33702"/>
                </a:xfrm>
                <a:custGeom>
                  <a:avLst/>
                  <a:gdLst>
                    <a:gd name="connsiteX0" fmla="*/ 1524 w 918971"/>
                    <a:gd name="connsiteY0" fmla="*/ 164592 h 745235"/>
                    <a:gd name="connsiteX1" fmla="*/ 918972 w 918971"/>
                    <a:gd name="connsiteY1" fmla="*/ 0 h 745235"/>
                    <a:gd name="connsiteX2" fmla="*/ 908304 w 918971"/>
                    <a:gd name="connsiteY2" fmla="*/ 560833 h 745235"/>
                    <a:gd name="connsiteX3" fmla="*/ 0 w 918971"/>
                    <a:gd name="connsiteY3" fmla="*/ 745236 h 745235"/>
                  </a:gdLst>
                  <a:ahLst/>
                  <a:cxnLst>
                    <a:cxn ang="0">
                      <a:pos x="connsiteX0" y="connsiteY0"/>
                    </a:cxn>
                    <a:cxn ang="0">
                      <a:pos x="connsiteX1" y="connsiteY1"/>
                    </a:cxn>
                    <a:cxn ang="0">
                      <a:pos x="connsiteX2" y="connsiteY2"/>
                    </a:cxn>
                    <a:cxn ang="0">
                      <a:pos x="connsiteX3" y="connsiteY3"/>
                    </a:cxn>
                  </a:cxnLst>
                  <a:rect l="l" t="t" r="r" b="b"/>
                  <a:pathLst>
                    <a:path w="918971" h="745235">
                      <a:moveTo>
                        <a:pt x="1524" y="164592"/>
                      </a:moveTo>
                      <a:lnTo>
                        <a:pt x="918972" y="0"/>
                      </a:lnTo>
                      <a:lnTo>
                        <a:pt x="908304" y="560833"/>
                      </a:lnTo>
                      <a:lnTo>
                        <a:pt x="0" y="745236"/>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0" name="Graphic 2">
                  <a:extLst>
                    <a:ext uri="{FF2B5EF4-FFF2-40B4-BE49-F238E27FC236}">
                      <a16:creationId xmlns:a16="http://schemas.microsoft.com/office/drawing/2014/main" id="{FC5431F3-01A8-438A-AC22-E9BAC8C98EA4}"/>
                    </a:ext>
                  </a:extLst>
                </p:cNvPr>
                <p:cNvSpPr/>
                <p:nvPr/>
              </p:nvSpPr>
              <p:spPr>
                <a:xfrm>
                  <a:off x="3932207" y="4598497"/>
                  <a:ext cx="143561" cy="34116"/>
                </a:xfrm>
                <a:custGeom>
                  <a:avLst/>
                  <a:gdLst>
                    <a:gd name="connsiteX0" fmla="*/ 3174492 w 3174491"/>
                    <a:gd name="connsiteY0" fmla="*/ 0 h 754379"/>
                    <a:gd name="connsiteX1" fmla="*/ 0 w 3174491"/>
                    <a:gd name="connsiteY1" fmla="*/ 626364 h 754379"/>
                    <a:gd name="connsiteX2" fmla="*/ 0 w 3174491"/>
                    <a:gd name="connsiteY2" fmla="*/ 754380 h 754379"/>
                    <a:gd name="connsiteX3" fmla="*/ 3174492 w 3174491"/>
                    <a:gd name="connsiteY3" fmla="*/ 123444 h 754379"/>
                  </a:gdLst>
                  <a:ahLst/>
                  <a:cxnLst>
                    <a:cxn ang="0">
                      <a:pos x="connsiteX0" y="connsiteY0"/>
                    </a:cxn>
                    <a:cxn ang="0">
                      <a:pos x="connsiteX1" y="connsiteY1"/>
                    </a:cxn>
                    <a:cxn ang="0">
                      <a:pos x="connsiteX2" y="connsiteY2"/>
                    </a:cxn>
                    <a:cxn ang="0">
                      <a:pos x="connsiteX3" y="connsiteY3"/>
                    </a:cxn>
                  </a:cxnLst>
                  <a:rect l="l" t="t" r="r" b="b"/>
                  <a:pathLst>
                    <a:path w="3174491" h="754379">
                      <a:moveTo>
                        <a:pt x="3174492" y="0"/>
                      </a:moveTo>
                      <a:lnTo>
                        <a:pt x="0" y="626364"/>
                      </a:lnTo>
                      <a:lnTo>
                        <a:pt x="0" y="754380"/>
                      </a:lnTo>
                      <a:lnTo>
                        <a:pt x="3174492" y="123444"/>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91" name="Graphic 2">
                  <a:extLst>
                    <a:ext uri="{FF2B5EF4-FFF2-40B4-BE49-F238E27FC236}">
                      <a16:creationId xmlns:a16="http://schemas.microsoft.com/office/drawing/2014/main" id="{54E2A308-B5E3-4E14-9BCE-8647BE828150}"/>
                    </a:ext>
                  </a:extLst>
                </p:cNvPr>
                <p:cNvSpPr/>
                <p:nvPr/>
              </p:nvSpPr>
              <p:spPr>
                <a:xfrm>
                  <a:off x="3931655" y="4724071"/>
                  <a:ext cx="144113" cy="46177"/>
                </a:xfrm>
                <a:custGeom>
                  <a:avLst/>
                  <a:gdLst>
                    <a:gd name="connsiteX0" fmla="*/ 3186684 w 3186683"/>
                    <a:gd name="connsiteY0" fmla="*/ 0 h 1021079"/>
                    <a:gd name="connsiteX1" fmla="*/ 0 w 3186683"/>
                    <a:gd name="connsiteY1" fmla="*/ 893064 h 1021079"/>
                    <a:gd name="connsiteX2" fmla="*/ 0 w 3186683"/>
                    <a:gd name="connsiteY2" fmla="*/ 1021080 h 1021079"/>
                    <a:gd name="connsiteX3" fmla="*/ 3186684 w 3186683"/>
                    <a:gd name="connsiteY3" fmla="*/ 114300 h 1021079"/>
                  </a:gdLst>
                  <a:ahLst/>
                  <a:cxnLst>
                    <a:cxn ang="0">
                      <a:pos x="connsiteX0" y="connsiteY0"/>
                    </a:cxn>
                    <a:cxn ang="0">
                      <a:pos x="connsiteX1" y="connsiteY1"/>
                    </a:cxn>
                    <a:cxn ang="0">
                      <a:pos x="connsiteX2" y="connsiteY2"/>
                    </a:cxn>
                    <a:cxn ang="0">
                      <a:pos x="connsiteX3" y="connsiteY3"/>
                    </a:cxn>
                  </a:cxnLst>
                  <a:rect l="l" t="t" r="r" b="b"/>
                  <a:pathLst>
                    <a:path w="3186683" h="1021079">
                      <a:moveTo>
                        <a:pt x="3186684" y="0"/>
                      </a:moveTo>
                      <a:lnTo>
                        <a:pt x="0" y="893064"/>
                      </a:lnTo>
                      <a:lnTo>
                        <a:pt x="0" y="1021080"/>
                      </a:lnTo>
                      <a:lnTo>
                        <a:pt x="3186684" y="11430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86" name="Group 785">
                <a:extLst>
                  <a:ext uri="{FF2B5EF4-FFF2-40B4-BE49-F238E27FC236}">
                    <a16:creationId xmlns:a16="http://schemas.microsoft.com/office/drawing/2014/main" id="{DDEA5C1F-9397-4580-A550-DB730B10F880}"/>
                  </a:ext>
                </a:extLst>
              </p:cNvPr>
              <p:cNvGrpSpPr/>
              <p:nvPr/>
            </p:nvGrpSpPr>
            <p:grpSpPr>
              <a:xfrm>
                <a:off x="8863667" y="2990169"/>
                <a:ext cx="399835" cy="369751"/>
                <a:chOff x="8863667" y="2990169"/>
                <a:chExt cx="399835" cy="369751"/>
              </a:xfrm>
            </p:grpSpPr>
            <p:sp>
              <p:nvSpPr>
                <p:cNvPr id="1972" name="Graphic 2">
                  <a:extLst>
                    <a:ext uri="{FF2B5EF4-FFF2-40B4-BE49-F238E27FC236}">
                      <a16:creationId xmlns:a16="http://schemas.microsoft.com/office/drawing/2014/main" id="{40F8460A-3D8C-4AD5-AE06-8E9C64217004}"/>
                    </a:ext>
                  </a:extLst>
                </p:cNvPr>
                <p:cNvSpPr/>
                <p:nvPr/>
              </p:nvSpPr>
              <p:spPr>
                <a:xfrm>
                  <a:off x="8981696" y="2990169"/>
                  <a:ext cx="264142" cy="319125"/>
                </a:xfrm>
                <a:custGeom>
                  <a:avLst/>
                  <a:gdLst>
                    <a:gd name="connsiteX0" fmla="*/ 5446775 w 5446774"/>
                    <a:gd name="connsiteY0" fmla="*/ 978349 h 6580574"/>
                    <a:gd name="connsiteX1" fmla="*/ 2043682 w 5446774"/>
                    <a:gd name="connsiteY1" fmla="*/ 24323 h 6580574"/>
                    <a:gd name="connsiteX2" fmla="*/ 1764790 w 5446774"/>
                    <a:gd name="connsiteY2" fmla="*/ 7561 h 6580574"/>
                    <a:gd name="connsiteX3" fmla="*/ 537972 w 5446774"/>
                    <a:gd name="connsiteY3" fmla="*/ 195015 h 6580574"/>
                    <a:gd name="connsiteX4" fmla="*/ 0 w 5446774"/>
                    <a:gd name="connsiteY4" fmla="*/ 822902 h 6580574"/>
                    <a:gd name="connsiteX5" fmla="*/ 0 w 5446774"/>
                    <a:gd name="connsiteY5" fmla="*/ 5705795 h 6580574"/>
                    <a:gd name="connsiteX6" fmla="*/ 4105654 w 5446774"/>
                    <a:gd name="connsiteY6" fmla="*/ 6580574 h 6580574"/>
                    <a:gd name="connsiteX7" fmla="*/ 5446775 w 5446774"/>
                    <a:gd name="connsiteY7" fmla="*/ 978349 h 6580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6774" h="6580574">
                      <a:moveTo>
                        <a:pt x="5446775" y="978349"/>
                      </a:moveTo>
                      <a:lnTo>
                        <a:pt x="2043682" y="24323"/>
                      </a:lnTo>
                      <a:cubicBezTo>
                        <a:pt x="1953767" y="-1582"/>
                        <a:pt x="1857754" y="-6154"/>
                        <a:pt x="1764790" y="7561"/>
                      </a:cubicBezTo>
                      <a:lnTo>
                        <a:pt x="537972" y="195015"/>
                      </a:lnTo>
                      <a:cubicBezTo>
                        <a:pt x="228600" y="242259"/>
                        <a:pt x="0" y="508959"/>
                        <a:pt x="0" y="822902"/>
                      </a:cubicBezTo>
                      <a:lnTo>
                        <a:pt x="0" y="5705795"/>
                      </a:lnTo>
                      <a:lnTo>
                        <a:pt x="4105654" y="6580574"/>
                      </a:lnTo>
                      <a:lnTo>
                        <a:pt x="5446775" y="978349"/>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3" name="Graphic 2">
                  <a:extLst>
                    <a:ext uri="{FF2B5EF4-FFF2-40B4-BE49-F238E27FC236}">
                      <a16:creationId xmlns:a16="http://schemas.microsoft.com/office/drawing/2014/main" id="{982A5AE7-3E7C-4D2E-BEFD-B4ACD52AF260}"/>
                    </a:ext>
                  </a:extLst>
                </p:cNvPr>
                <p:cNvSpPr/>
                <p:nvPr/>
              </p:nvSpPr>
              <p:spPr>
                <a:xfrm>
                  <a:off x="9164393" y="3036799"/>
                  <a:ext cx="99109" cy="273466"/>
                </a:xfrm>
                <a:custGeom>
                  <a:avLst/>
                  <a:gdLst>
                    <a:gd name="connsiteX0" fmla="*/ 0 w 2043682"/>
                    <a:gd name="connsiteY0" fmla="*/ 728513 h 5639044"/>
                    <a:gd name="connsiteX1" fmla="*/ 0 w 2043682"/>
                    <a:gd name="connsiteY1" fmla="*/ 5160303 h 5639044"/>
                    <a:gd name="connsiteX2" fmla="*/ 609600 w 2043682"/>
                    <a:gd name="connsiteY2" fmla="*/ 5620549 h 5639044"/>
                    <a:gd name="connsiteX3" fmla="*/ 1696210 w 2043682"/>
                    <a:gd name="connsiteY3" fmla="*/ 5309657 h 5639044"/>
                    <a:gd name="connsiteX4" fmla="*/ 2043682 w 2043682"/>
                    <a:gd name="connsiteY4" fmla="*/ 4849406 h 5639044"/>
                    <a:gd name="connsiteX5" fmla="*/ 2043682 w 2043682"/>
                    <a:gd name="connsiteY5" fmla="*/ 478575 h 5639044"/>
                    <a:gd name="connsiteX6" fmla="*/ 1458467 w 2043682"/>
                    <a:gd name="connsiteY6" fmla="*/ 12231 h 5639044"/>
                    <a:gd name="connsiteX7" fmla="*/ 371854 w 2043682"/>
                    <a:gd name="connsiteY7" fmla="*/ 260644 h 5639044"/>
                    <a:gd name="connsiteX8" fmla="*/ 0 w 2043682"/>
                    <a:gd name="connsiteY8" fmla="*/ 728513 h 563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3682" h="5639044">
                      <a:moveTo>
                        <a:pt x="0" y="728513"/>
                      </a:moveTo>
                      <a:lnTo>
                        <a:pt x="0" y="5160303"/>
                      </a:lnTo>
                      <a:cubicBezTo>
                        <a:pt x="0" y="5477298"/>
                        <a:pt x="304800" y="5707418"/>
                        <a:pt x="609600" y="5620549"/>
                      </a:cubicBezTo>
                      <a:lnTo>
                        <a:pt x="1696210" y="5309657"/>
                      </a:lnTo>
                      <a:cubicBezTo>
                        <a:pt x="1901951" y="5251744"/>
                        <a:pt x="2043682" y="5062769"/>
                        <a:pt x="2043682" y="4849406"/>
                      </a:cubicBezTo>
                      <a:lnTo>
                        <a:pt x="2043682" y="478575"/>
                      </a:lnTo>
                      <a:cubicBezTo>
                        <a:pt x="2043682" y="172249"/>
                        <a:pt x="1758695" y="-56351"/>
                        <a:pt x="1458467" y="12231"/>
                      </a:cubicBezTo>
                      <a:lnTo>
                        <a:pt x="371854" y="260644"/>
                      </a:lnTo>
                      <a:cubicBezTo>
                        <a:pt x="155446" y="312459"/>
                        <a:pt x="0" y="506005"/>
                        <a:pt x="0" y="728513"/>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4" name="Graphic 2">
                  <a:extLst>
                    <a:ext uri="{FF2B5EF4-FFF2-40B4-BE49-F238E27FC236}">
                      <a16:creationId xmlns:a16="http://schemas.microsoft.com/office/drawing/2014/main" id="{82D1D3D7-C375-45EE-B0F8-CC900840C6AE}"/>
                    </a:ext>
                  </a:extLst>
                </p:cNvPr>
                <p:cNvSpPr/>
                <p:nvPr/>
              </p:nvSpPr>
              <p:spPr>
                <a:xfrm>
                  <a:off x="8925822" y="3314615"/>
                  <a:ext cx="150326" cy="41535"/>
                </a:xfrm>
                <a:custGeom>
                  <a:avLst/>
                  <a:gdLst>
                    <a:gd name="connsiteX0" fmla="*/ 0 w 3099817"/>
                    <a:gd name="connsiteY0" fmla="*/ 509015 h 856487"/>
                    <a:gd name="connsiteX1" fmla="*/ 2113790 w 3099817"/>
                    <a:gd name="connsiteY1" fmla="*/ 0 h 856487"/>
                    <a:gd name="connsiteX2" fmla="*/ 3099818 w 3099817"/>
                    <a:gd name="connsiteY2" fmla="*/ 339849 h 856487"/>
                    <a:gd name="connsiteX3" fmla="*/ 923546 w 3099817"/>
                    <a:gd name="connsiteY3" fmla="*/ 856487 h 856487"/>
                  </a:gdLst>
                  <a:ahLst/>
                  <a:cxnLst>
                    <a:cxn ang="0">
                      <a:pos x="connsiteX0" y="connsiteY0"/>
                    </a:cxn>
                    <a:cxn ang="0">
                      <a:pos x="connsiteX1" y="connsiteY1"/>
                    </a:cxn>
                    <a:cxn ang="0">
                      <a:pos x="connsiteX2" y="connsiteY2"/>
                    </a:cxn>
                    <a:cxn ang="0">
                      <a:pos x="connsiteX3" y="connsiteY3"/>
                    </a:cxn>
                  </a:cxnLst>
                  <a:rect l="l" t="t" r="r" b="b"/>
                  <a:pathLst>
                    <a:path w="3099817" h="856487">
                      <a:moveTo>
                        <a:pt x="0" y="509015"/>
                      </a:moveTo>
                      <a:lnTo>
                        <a:pt x="2113790" y="0"/>
                      </a:lnTo>
                      <a:lnTo>
                        <a:pt x="3099818" y="339849"/>
                      </a:lnTo>
                      <a:lnTo>
                        <a:pt x="923546" y="856487"/>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5" name="Graphic 2">
                  <a:extLst>
                    <a:ext uri="{FF2B5EF4-FFF2-40B4-BE49-F238E27FC236}">
                      <a16:creationId xmlns:a16="http://schemas.microsoft.com/office/drawing/2014/main" id="{8BE36E99-D3A3-4E6F-9C66-A2EC8743C617}"/>
                    </a:ext>
                  </a:extLst>
                </p:cNvPr>
                <p:cNvSpPr/>
                <p:nvPr/>
              </p:nvSpPr>
              <p:spPr>
                <a:xfrm>
                  <a:off x="8925822" y="3331096"/>
                  <a:ext cx="150326" cy="28824"/>
                </a:xfrm>
                <a:custGeom>
                  <a:avLst/>
                  <a:gdLst>
                    <a:gd name="connsiteX0" fmla="*/ 0 w 3099817"/>
                    <a:gd name="connsiteY0" fmla="*/ 169166 h 594363"/>
                    <a:gd name="connsiteX1" fmla="*/ 0 w 3099817"/>
                    <a:gd name="connsiteY1" fmla="*/ 246892 h 594363"/>
                    <a:gd name="connsiteX2" fmla="*/ 923546 w 3099817"/>
                    <a:gd name="connsiteY2" fmla="*/ 594364 h 594363"/>
                    <a:gd name="connsiteX3" fmla="*/ 3099818 w 3099817"/>
                    <a:gd name="connsiteY3" fmla="*/ 77725 h 594363"/>
                    <a:gd name="connsiteX4" fmla="*/ 3099818 w 3099817"/>
                    <a:gd name="connsiteY4" fmla="*/ 0 h 594363"/>
                    <a:gd name="connsiteX5" fmla="*/ 923546 w 3099817"/>
                    <a:gd name="connsiteY5" fmla="*/ 516638 h 59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9817" h="594363">
                      <a:moveTo>
                        <a:pt x="0" y="169166"/>
                      </a:moveTo>
                      <a:lnTo>
                        <a:pt x="0" y="246892"/>
                      </a:lnTo>
                      <a:lnTo>
                        <a:pt x="923546" y="594364"/>
                      </a:lnTo>
                      <a:lnTo>
                        <a:pt x="3099818" y="77725"/>
                      </a:lnTo>
                      <a:lnTo>
                        <a:pt x="3099818" y="0"/>
                      </a:lnTo>
                      <a:lnTo>
                        <a:pt x="923546" y="516638"/>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6" name="Graphic 2">
                  <a:extLst>
                    <a:ext uri="{FF2B5EF4-FFF2-40B4-BE49-F238E27FC236}">
                      <a16:creationId xmlns:a16="http://schemas.microsoft.com/office/drawing/2014/main" id="{7DF0F560-544F-45D5-B686-1C3099A61460}"/>
                    </a:ext>
                  </a:extLst>
                </p:cNvPr>
                <p:cNvSpPr/>
                <p:nvPr/>
              </p:nvSpPr>
              <p:spPr>
                <a:xfrm>
                  <a:off x="8977409" y="3298504"/>
                  <a:ext cx="53434" cy="42127"/>
                </a:xfrm>
                <a:custGeom>
                  <a:avLst/>
                  <a:gdLst>
                    <a:gd name="connsiteX0" fmla="*/ 0 w 1101851"/>
                    <a:gd name="connsiteY0" fmla="*/ 298703 h 868677"/>
                    <a:gd name="connsiteX1" fmla="*/ 0 w 1101851"/>
                    <a:gd name="connsiteY1" fmla="*/ 868677 h 868677"/>
                    <a:gd name="connsiteX2" fmla="*/ 1101851 w 1101851"/>
                    <a:gd name="connsiteY2" fmla="*/ 609600 h 868677"/>
                    <a:gd name="connsiteX3" fmla="*/ 1101851 w 1101851"/>
                    <a:gd name="connsiteY3" fmla="*/ 0 h 868677"/>
                  </a:gdLst>
                  <a:ahLst/>
                  <a:cxnLst>
                    <a:cxn ang="0">
                      <a:pos x="connsiteX0" y="connsiteY0"/>
                    </a:cxn>
                    <a:cxn ang="0">
                      <a:pos x="connsiteX1" y="connsiteY1"/>
                    </a:cxn>
                    <a:cxn ang="0">
                      <a:pos x="connsiteX2" y="connsiteY2"/>
                    </a:cxn>
                    <a:cxn ang="0">
                      <a:pos x="connsiteX3" y="connsiteY3"/>
                    </a:cxn>
                  </a:cxnLst>
                  <a:rect l="l" t="t" r="r" b="b"/>
                  <a:pathLst>
                    <a:path w="1101851" h="868677">
                      <a:moveTo>
                        <a:pt x="0" y="298703"/>
                      </a:moveTo>
                      <a:lnTo>
                        <a:pt x="0" y="868677"/>
                      </a:lnTo>
                      <a:lnTo>
                        <a:pt x="1101851" y="609600"/>
                      </a:lnTo>
                      <a:lnTo>
                        <a:pt x="1101851"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7" name="Graphic 2">
                  <a:extLst>
                    <a:ext uri="{FF2B5EF4-FFF2-40B4-BE49-F238E27FC236}">
                      <a16:creationId xmlns:a16="http://schemas.microsoft.com/office/drawing/2014/main" id="{E303D7BD-AAD1-484F-B2C0-9520365F7295}"/>
                    </a:ext>
                  </a:extLst>
                </p:cNvPr>
                <p:cNvSpPr/>
                <p:nvPr/>
              </p:nvSpPr>
              <p:spPr>
                <a:xfrm>
                  <a:off x="8960928" y="3309220"/>
                  <a:ext cx="16481" cy="31410"/>
                </a:xfrm>
                <a:custGeom>
                  <a:avLst/>
                  <a:gdLst>
                    <a:gd name="connsiteX0" fmla="*/ 4574 w 339853"/>
                    <a:gd name="connsiteY0" fmla="*/ 0 h 647700"/>
                    <a:gd name="connsiteX1" fmla="*/ 0 w 339853"/>
                    <a:gd name="connsiteY1" fmla="*/ 518159 h 647700"/>
                    <a:gd name="connsiteX2" fmla="*/ 339854 w 339853"/>
                    <a:gd name="connsiteY2" fmla="*/ 647700 h 647700"/>
                    <a:gd name="connsiteX3" fmla="*/ 339854 w 339853"/>
                    <a:gd name="connsiteY3" fmla="*/ 77725 h 647700"/>
                  </a:gdLst>
                  <a:ahLst/>
                  <a:cxnLst>
                    <a:cxn ang="0">
                      <a:pos x="connsiteX0" y="connsiteY0"/>
                    </a:cxn>
                    <a:cxn ang="0">
                      <a:pos x="connsiteX1" y="connsiteY1"/>
                    </a:cxn>
                    <a:cxn ang="0">
                      <a:pos x="connsiteX2" y="connsiteY2"/>
                    </a:cxn>
                    <a:cxn ang="0">
                      <a:pos x="connsiteX3" y="connsiteY3"/>
                    </a:cxn>
                  </a:cxnLst>
                  <a:rect l="l" t="t" r="r" b="b"/>
                  <a:pathLst>
                    <a:path w="339853" h="647700">
                      <a:moveTo>
                        <a:pt x="4574" y="0"/>
                      </a:moveTo>
                      <a:lnTo>
                        <a:pt x="0" y="518159"/>
                      </a:lnTo>
                      <a:lnTo>
                        <a:pt x="339854" y="647700"/>
                      </a:lnTo>
                      <a:lnTo>
                        <a:pt x="339854" y="7772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8" name="Graphic 2">
                  <a:extLst>
                    <a:ext uri="{FF2B5EF4-FFF2-40B4-BE49-F238E27FC236}">
                      <a16:creationId xmlns:a16="http://schemas.microsoft.com/office/drawing/2014/main" id="{7786F818-6F20-4BB8-92BD-3C05FA427CD7}"/>
                    </a:ext>
                  </a:extLst>
                </p:cNvPr>
                <p:cNvSpPr/>
                <p:nvPr/>
              </p:nvSpPr>
              <p:spPr>
                <a:xfrm>
                  <a:off x="8878818" y="3069098"/>
                  <a:ext cx="245296" cy="268872"/>
                </a:xfrm>
                <a:custGeom>
                  <a:avLst/>
                  <a:gdLst>
                    <a:gd name="connsiteX0" fmla="*/ 18290 w 5058156"/>
                    <a:gd name="connsiteY0" fmla="*/ 914400 h 5544312"/>
                    <a:gd name="connsiteX1" fmla="*/ 5058157 w 5058156"/>
                    <a:gd name="connsiteY1" fmla="*/ 0 h 5544312"/>
                    <a:gd name="connsiteX2" fmla="*/ 5055110 w 5058156"/>
                    <a:gd name="connsiteY2" fmla="*/ 4276344 h 5544312"/>
                    <a:gd name="connsiteX3" fmla="*/ 0 w 5058156"/>
                    <a:gd name="connsiteY3" fmla="*/ 5544313 h 5544312"/>
                  </a:gdLst>
                  <a:ahLst/>
                  <a:cxnLst>
                    <a:cxn ang="0">
                      <a:pos x="connsiteX0" y="connsiteY0"/>
                    </a:cxn>
                    <a:cxn ang="0">
                      <a:pos x="connsiteX1" y="connsiteY1"/>
                    </a:cxn>
                    <a:cxn ang="0">
                      <a:pos x="connsiteX2" y="connsiteY2"/>
                    </a:cxn>
                    <a:cxn ang="0">
                      <a:pos x="connsiteX3" y="connsiteY3"/>
                    </a:cxn>
                  </a:cxnLst>
                  <a:rect l="l" t="t" r="r" b="b"/>
                  <a:pathLst>
                    <a:path w="5058156" h="5544312">
                      <a:moveTo>
                        <a:pt x="18290" y="914400"/>
                      </a:moveTo>
                      <a:lnTo>
                        <a:pt x="5058157" y="0"/>
                      </a:lnTo>
                      <a:lnTo>
                        <a:pt x="5055110" y="4276344"/>
                      </a:lnTo>
                      <a:lnTo>
                        <a:pt x="0" y="5544313"/>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9" name="Graphic 2">
                  <a:extLst>
                    <a:ext uri="{FF2B5EF4-FFF2-40B4-BE49-F238E27FC236}">
                      <a16:creationId xmlns:a16="http://schemas.microsoft.com/office/drawing/2014/main" id="{2797094F-20ED-45F4-8946-C75410C83F7E}"/>
                    </a:ext>
                  </a:extLst>
                </p:cNvPr>
                <p:cNvSpPr/>
                <p:nvPr/>
              </p:nvSpPr>
              <p:spPr>
                <a:xfrm>
                  <a:off x="8893895" y="3084988"/>
                  <a:ext cx="215438" cy="235761"/>
                </a:xfrm>
                <a:custGeom>
                  <a:avLst/>
                  <a:gdLst>
                    <a:gd name="connsiteX0" fmla="*/ 16764 w 4442459"/>
                    <a:gd name="connsiteY0" fmla="*/ 801626 h 4861559"/>
                    <a:gd name="connsiteX1" fmla="*/ 4434841 w 4442459"/>
                    <a:gd name="connsiteY1" fmla="*/ 0 h 4861559"/>
                    <a:gd name="connsiteX2" fmla="*/ 4442459 w 4442459"/>
                    <a:gd name="connsiteY2" fmla="*/ 3790187 h 4861559"/>
                    <a:gd name="connsiteX3" fmla="*/ 0 w 4442459"/>
                    <a:gd name="connsiteY3" fmla="*/ 4861559 h 4861559"/>
                  </a:gdLst>
                  <a:ahLst/>
                  <a:cxnLst>
                    <a:cxn ang="0">
                      <a:pos x="connsiteX0" y="connsiteY0"/>
                    </a:cxn>
                    <a:cxn ang="0">
                      <a:pos x="connsiteX1" y="connsiteY1"/>
                    </a:cxn>
                    <a:cxn ang="0">
                      <a:pos x="connsiteX2" y="connsiteY2"/>
                    </a:cxn>
                    <a:cxn ang="0">
                      <a:pos x="connsiteX3" y="connsiteY3"/>
                    </a:cxn>
                  </a:cxnLst>
                  <a:rect l="l" t="t" r="r" b="b"/>
                  <a:pathLst>
                    <a:path w="4442459" h="4861559">
                      <a:moveTo>
                        <a:pt x="16764" y="801626"/>
                      </a:moveTo>
                      <a:lnTo>
                        <a:pt x="4434841" y="0"/>
                      </a:lnTo>
                      <a:lnTo>
                        <a:pt x="4442459" y="3790187"/>
                      </a:lnTo>
                      <a:lnTo>
                        <a:pt x="0" y="4861559"/>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0" name="Graphic 2">
                  <a:extLst>
                    <a:ext uri="{FF2B5EF4-FFF2-40B4-BE49-F238E27FC236}">
                      <a16:creationId xmlns:a16="http://schemas.microsoft.com/office/drawing/2014/main" id="{E00CBD99-5A1B-49FD-BAB0-BC3BB76ED1F5}"/>
                    </a:ext>
                  </a:extLst>
                </p:cNvPr>
                <p:cNvSpPr/>
                <p:nvPr/>
              </p:nvSpPr>
              <p:spPr>
                <a:xfrm>
                  <a:off x="8863667" y="3065329"/>
                  <a:ext cx="260447" cy="272641"/>
                </a:xfrm>
                <a:custGeom>
                  <a:avLst/>
                  <a:gdLst>
                    <a:gd name="connsiteX0" fmla="*/ 5370575 w 5370574"/>
                    <a:gd name="connsiteY0" fmla="*/ 77725 h 5622038"/>
                    <a:gd name="connsiteX1" fmla="*/ 5058157 w 5370574"/>
                    <a:gd name="connsiteY1" fmla="*/ 0 h 5622038"/>
                    <a:gd name="connsiteX2" fmla="*/ 19810 w 5370574"/>
                    <a:gd name="connsiteY2" fmla="*/ 914400 h 5622038"/>
                    <a:gd name="connsiteX3" fmla="*/ 0 w 5370574"/>
                    <a:gd name="connsiteY3" fmla="*/ 5492498 h 5622038"/>
                    <a:gd name="connsiteX4" fmla="*/ 312418 w 5370574"/>
                    <a:gd name="connsiteY4" fmla="*/ 5622038 h 5622038"/>
                    <a:gd name="connsiteX5" fmla="*/ 330708 w 5370574"/>
                    <a:gd name="connsiteY5" fmla="*/ 992126 h 56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0574" h="5622038">
                      <a:moveTo>
                        <a:pt x="5370575" y="77725"/>
                      </a:moveTo>
                      <a:lnTo>
                        <a:pt x="5058157" y="0"/>
                      </a:lnTo>
                      <a:lnTo>
                        <a:pt x="19810" y="914400"/>
                      </a:lnTo>
                      <a:lnTo>
                        <a:pt x="0" y="5492498"/>
                      </a:lnTo>
                      <a:lnTo>
                        <a:pt x="312418" y="5622038"/>
                      </a:lnTo>
                      <a:lnTo>
                        <a:pt x="330708" y="992126"/>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1" name="Graphic 2">
                  <a:extLst>
                    <a:ext uri="{FF2B5EF4-FFF2-40B4-BE49-F238E27FC236}">
                      <a16:creationId xmlns:a16="http://schemas.microsoft.com/office/drawing/2014/main" id="{3ADF3D0D-FEF2-47FB-B734-06E5CEA15321}"/>
                    </a:ext>
                  </a:extLst>
                </p:cNvPr>
                <p:cNvSpPr/>
                <p:nvPr/>
              </p:nvSpPr>
              <p:spPr>
                <a:xfrm>
                  <a:off x="9184383" y="3269828"/>
                  <a:ext cx="71064" cy="29563"/>
                </a:xfrm>
                <a:custGeom>
                  <a:avLst/>
                  <a:gdLst>
                    <a:gd name="connsiteX0" fmla="*/ 808 w 1465390"/>
                    <a:gd name="connsiteY0" fmla="*/ 609600 h 609600"/>
                    <a:gd name="connsiteX1" fmla="*/ 227885 w 1465390"/>
                    <a:gd name="connsiteY1" fmla="*/ 298703 h 609600"/>
                    <a:gd name="connsiteX2" fmla="*/ 1465372 w 1465390"/>
                    <a:gd name="connsiteY2" fmla="*/ 0 h 609600"/>
                    <a:gd name="connsiteX3" fmla="*/ 1465372 w 1465390"/>
                    <a:gd name="connsiteY3" fmla="*/ 10664 h 609600"/>
                    <a:gd name="connsiteX4" fmla="*/ 1239821 w 1465390"/>
                    <a:gd name="connsiteY4" fmla="*/ 301749 h 609600"/>
                    <a:gd name="connsiteX5" fmla="*/ 808 w 1465390"/>
                    <a:gd name="connsiteY5" fmla="*/ 609600 h 609600"/>
                    <a:gd name="connsiteX6" fmla="*/ 808 w 1465390"/>
                    <a:gd name="connsiteY6" fmla="*/ 6096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5390" h="609600">
                      <a:moveTo>
                        <a:pt x="808" y="609600"/>
                      </a:moveTo>
                      <a:cubicBezTo>
                        <a:pt x="-9859" y="464818"/>
                        <a:pt x="86151" y="332231"/>
                        <a:pt x="227885" y="298703"/>
                      </a:cubicBezTo>
                      <a:lnTo>
                        <a:pt x="1465372" y="0"/>
                      </a:lnTo>
                      <a:lnTo>
                        <a:pt x="1465372" y="10664"/>
                      </a:lnTo>
                      <a:cubicBezTo>
                        <a:pt x="1466895" y="147828"/>
                        <a:pt x="1373931" y="269746"/>
                        <a:pt x="1239821" y="301749"/>
                      </a:cubicBezTo>
                      <a:lnTo>
                        <a:pt x="808" y="609600"/>
                      </a:lnTo>
                      <a:cubicBezTo>
                        <a:pt x="808" y="609600"/>
                        <a:pt x="808" y="609600"/>
                        <a:pt x="808" y="60960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2" name="Graphic 2">
                  <a:extLst>
                    <a:ext uri="{FF2B5EF4-FFF2-40B4-BE49-F238E27FC236}">
                      <a16:creationId xmlns:a16="http://schemas.microsoft.com/office/drawing/2014/main" id="{05374DEC-B34D-48C5-AC3B-A1B7B10C42FB}"/>
                    </a:ext>
                  </a:extLst>
                </p:cNvPr>
                <p:cNvSpPr/>
                <p:nvPr/>
              </p:nvSpPr>
              <p:spPr>
                <a:xfrm>
                  <a:off x="9182870" y="3090309"/>
                  <a:ext cx="67033" cy="27419"/>
                </a:xfrm>
                <a:custGeom>
                  <a:avLst/>
                  <a:gdLst>
                    <a:gd name="connsiteX0" fmla="*/ 1382267 w 1382266"/>
                    <a:gd name="connsiteY0" fmla="*/ 237744 h 565402"/>
                    <a:gd name="connsiteX1" fmla="*/ 1382267 w 1382266"/>
                    <a:gd name="connsiteY1" fmla="*/ 0 h 565402"/>
                    <a:gd name="connsiteX2" fmla="*/ 0 w 1382266"/>
                    <a:gd name="connsiteY2" fmla="*/ 318515 h 565402"/>
                    <a:gd name="connsiteX3" fmla="*/ 0 w 1382266"/>
                    <a:gd name="connsiteY3" fmla="*/ 565403 h 565402"/>
                  </a:gdLst>
                  <a:ahLst/>
                  <a:cxnLst>
                    <a:cxn ang="0">
                      <a:pos x="connsiteX0" y="connsiteY0"/>
                    </a:cxn>
                    <a:cxn ang="0">
                      <a:pos x="connsiteX1" y="connsiteY1"/>
                    </a:cxn>
                    <a:cxn ang="0">
                      <a:pos x="connsiteX2" y="connsiteY2"/>
                    </a:cxn>
                    <a:cxn ang="0">
                      <a:pos x="connsiteX3" y="connsiteY3"/>
                    </a:cxn>
                  </a:cxnLst>
                  <a:rect l="l" t="t" r="r" b="b"/>
                  <a:pathLst>
                    <a:path w="1382266" h="565402">
                      <a:moveTo>
                        <a:pt x="1382267" y="237744"/>
                      </a:moveTo>
                      <a:lnTo>
                        <a:pt x="1382267" y="0"/>
                      </a:lnTo>
                      <a:lnTo>
                        <a:pt x="0" y="318515"/>
                      </a:lnTo>
                      <a:lnTo>
                        <a:pt x="0" y="565403"/>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3" name="Graphic 2">
                  <a:extLst>
                    <a:ext uri="{FF2B5EF4-FFF2-40B4-BE49-F238E27FC236}">
                      <a16:creationId xmlns:a16="http://schemas.microsoft.com/office/drawing/2014/main" id="{78DFB8F2-9665-4C08-B407-CEF8736CF6DE}"/>
                    </a:ext>
                  </a:extLst>
                </p:cNvPr>
                <p:cNvSpPr/>
                <p:nvPr/>
              </p:nvSpPr>
              <p:spPr>
                <a:xfrm>
                  <a:off x="9182870" y="3129406"/>
                  <a:ext cx="67033" cy="27493"/>
                </a:xfrm>
                <a:custGeom>
                  <a:avLst/>
                  <a:gdLst>
                    <a:gd name="connsiteX0" fmla="*/ 0 w 1382266"/>
                    <a:gd name="connsiteY0" fmla="*/ 566928 h 566928"/>
                    <a:gd name="connsiteX1" fmla="*/ 1382267 w 1382266"/>
                    <a:gd name="connsiteY1" fmla="*/ 237744 h 566928"/>
                    <a:gd name="connsiteX2" fmla="*/ 1382267 w 1382266"/>
                    <a:gd name="connsiteY2" fmla="*/ 0 h 566928"/>
                    <a:gd name="connsiteX3" fmla="*/ 0 w 1382266"/>
                    <a:gd name="connsiteY3" fmla="*/ 318515 h 566928"/>
                  </a:gdLst>
                  <a:ahLst/>
                  <a:cxnLst>
                    <a:cxn ang="0">
                      <a:pos x="connsiteX0" y="connsiteY0"/>
                    </a:cxn>
                    <a:cxn ang="0">
                      <a:pos x="connsiteX1" y="connsiteY1"/>
                    </a:cxn>
                    <a:cxn ang="0">
                      <a:pos x="connsiteX2" y="connsiteY2"/>
                    </a:cxn>
                    <a:cxn ang="0">
                      <a:pos x="connsiteX3" y="connsiteY3"/>
                    </a:cxn>
                  </a:cxnLst>
                  <a:rect l="l" t="t" r="r" b="b"/>
                  <a:pathLst>
                    <a:path w="1382266" h="566928">
                      <a:moveTo>
                        <a:pt x="0" y="566928"/>
                      </a:moveTo>
                      <a:lnTo>
                        <a:pt x="1382267" y="237744"/>
                      </a:lnTo>
                      <a:lnTo>
                        <a:pt x="1382267" y="0"/>
                      </a:lnTo>
                      <a:lnTo>
                        <a:pt x="0" y="318515"/>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4" name="Graphic 2">
                  <a:extLst>
                    <a:ext uri="{FF2B5EF4-FFF2-40B4-BE49-F238E27FC236}">
                      <a16:creationId xmlns:a16="http://schemas.microsoft.com/office/drawing/2014/main" id="{DF42DF5C-6993-4DFE-B4AF-6659196253CB}"/>
                    </a:ext>
                  </a:extLst>
                </p:cNvPr>
                <p:cNvSpPr/>
                <p:nvPr/>
              </p:nvSpPr>
              <p:spPr>
                <a:xfrm>
                  <a:off x="9179544" y="3149804"/>
                  <a:ext cx="74424" cy="130001"/>
                </a:xfrm>
                <a:custGeom>
                  <a:avLst/>
                  <a:gdLst>
                    <a:gd name="connsiteX0" fmla="*/ 1534669 w 1534669"/>
                    <a:gd name="connsiteY0" fmla="*/ 0 h 2680715"/>
                    <a:gd name="connsiteX1" fmla="*/ 0 w 1534669"/>
                    <a:gd name="connsiteY1" fmla="*/ 353569 h 2680715"/>
                    <a:gd name="connsiteX2" fmla="*/ 0 w 1534669"/>
                    <a:gd name="connsiteY2" fmla="*/ 2680716 h 2680715"/>
                    <a:gd name="connsiteX3" fmla="*/ 1534669 w 1534669"/>
                    <a:gd name="connsiteY3" fmla="*/ 2316482 h 2680715"/>
                  </a:gdLst>
                  <a:ahLst/>
                  <a:cxnLst>
                    <a:cxn ang="0">
                      <a:pos x="connsiteX0" y="connsiteY0"/>
                    </a:cxn>
                    <a:cxn ang="0">
                      <a:pos x="connsiteX1" y="connsiteY1"/>
                    </a:cxn>
                    <a:cxn ang="0">
                      <a:pos x="connsiteX2" y="connsiteY2"/>
                    </a:cxn>
                    <a:cxn ang="0">
                      <a:pos x="connsiteX3" y="connsiteY3"/>
                    </a:cxn>
                  </a:cxnLst>
                  <a:rect l="l" t="t" r="r" b="b"/>
                  <a:pathLst>
                    <a:path w="1534669" h="2680715">
                      <a:moveTo>
                        <a:pt x="1534669" y="0"/>
                      </a:moveTo>
                      <a:lnTo>
                        <a:pt x="0" y="353569"/>
                      </a:lnTo>
                      <a:lnTo>
                        <a:pt x="0" y="2680716"/>
                      </a:lnTo>
                      <a:lnTo>
                        <a:pt x="1534669" y="231648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85" name="Graphic 2">
                  <a:extLst>
                    <a:ext uri="{FF2B5EF4-FFF2-40B4-BE49-F238E27FC236}">
                      <a16:creationId xmlns:a16="http://schemas.microsoft.com/office/drawing/2014/main" id="{34E51E9F-1F5C-4140-9674-5FCFDF3FE3D9}"/>
                    </a:ext>
                  </a:extLst>
                </p:cNvPr>
                <p:cNvSpPr/>
                <p:nvPr/>
              </p:nvSpPr>
              <p:spPr>
                <a:xfrm>
                  <a:off x="9182870" y="3160890"/>
                  <a:ext cx="67033" cy="27419"/>
                </a:xfrm>
                <a:custGeom>
                  <a:avLst/>
                  <a:gdLst>
                    <a:gd name="connsiteX0" fmla="*/ 0 w 1382266"/>
                    <a:gd name="connsiteY0" fmla="*/ 318515 h 565407"/>
                    <a:gd name="connsiteX1" fmla="*/ 0 w 1382266"/>
                    <a:gd name="connsiteY1" fmla="*/ 565407 h 565407"/>
                    <a:gd name="connsiteX2" fmla="*/ 1382267 w 1382266"/>
                    <a:gd name="connsiteY2" fmla="*/ 237744 h 565407"/>
                    <a:gd name="connsiteX3" fmla="*/ 1382267 w 1382266"/>
                    <a:gd name="connsiteY3" fmla="*/ 0 h 565407"/>
                  </a:gdLst>
                  <a:ahLst/>
                  <a:cxnLst>
                    <a:cxn ang="0">
                      <a:pos x="connsiteX0" y="connsiteY0"/>
                    </a:cxn>
                    <a:cxn ang="0">
                      <a:pos x="connsiteX1" y="connsiteY1"/>
                    </a:cxn>
                    <a:cxn ang="0">
                      <a:pos x="connsiteX2" y="connsiteY2"/>
                    </a:cxn>
                    <a:cxn ang="0">
                      <a:pos x="connsiteX3" y="connsiteY3"/>
                    </a:cxn>
                  </a:cxnLst>
                  <a:rect l="l" t="t" r="r" b="b"/>
                  <a:pathLst>
                    <a:path w="1382266" h="565407">
                      <a:moveTo>
                        <a:pt x="0" y="318515"/>
                      </a:moveTo>
                      <a:lnTo>
                        <a:pt x="0" y="565407"/>
                      </a:lnTo>
                      <a:lnTo>
                        <a:pt x="1382267" y="237744"/>
                      </a:lnTo>
                      <a:lnTo>
                        <a:pt x="1382267" y="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787" name="Group 786">
                <a:extLst>
                  <a:ext uri="{FF2B5EF4-FFF2-40B4-BE49-F238E27FC236}">
                    <a16:creationId xmlns:a16="http://schemas.microsoft.com/office/drawing/2014/main" id="{A5B50E7E-3CA9-4A72-8E6C-97BEB4F577AA}"/>
                  </a:ext>
                </a:extLst>
              </p:cNvPr>
              <p:cNvGrpSpPr/>
              <p:nvPr/>
            </p:nvGrpSpPr>
            <p:grpSpPr>
              <a:xfrm>
                <a:off x="7767253" y="4688154"/>
                <a:ext cx="565241" cy="443932"/>
                <a:chOff x="7767253" y="4688154"/>
                <a:chExt cx="565241" cy="443932"/>
              </a:xfrm>
            </p:grpSpPr>
            <p:sp>
              <p:nvSpPr>
                <p:cNvPr id="1901" name="Graphic 2">
                  <a:extLst>
                    <a:ext uri="{FF2B5EF4-FFF2-40B4-BE49-F238E27FC236}">
                      <a16:creationId xmlns:a16="http://schemas.microsoft.com/office/drawing/2014/main" id="{1B778646-06D0-4846-951F-A80B57BE75EF}"/>
                    </a:ext>
                  </a:extLst>
                </p:cNvPr>
                <p:cNvSpPr/>
                <p:nvPr/>
              </p:nvSpPr>
              <p:spPr>
                <a:xfrm>
                  <a:off x="8062040" y="5016601"/>
                  <a:ext cx="14331" cy="67992"/>
                </a:xfrm>
                <a:custGeom>
                  <a:avLst/>
                  <a:gdLst>
                    <a:gd name="connsiteX0" fmla="*/ 28956 w 262128"/>
                    <a:gd name="connsiteY0" fmla="*/ 50 h 1243635"/>
                    <a:gd name="connsiteX1" fmla="*/ 252985 w 262128"/>
                    <a:gd name="connsiteY1" fmla="*/ 86919 h 1243635"/>
                    <a:gd name="connsiteX2" fmla="*/ 262128 w 262128"/>
                    <a:gd name="connsiteY2" fmla="*/ 1185722 h 1243635"/>
                    <a:gd name="connsiteX3" fmla="*/ 0 w 262128"/>
                    <a:gd name="connsiteY3" fmla="*/ 1243634 h 1243635"/>
                    <a:gd name="connsiteX4" fmla="*/ 28956 w 262128"/>
                    <a:gd name="connsiteY4" fmla="*/ 50 h 1243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28" h="1243635">
                      <a:moveTo>
                        <a:pt x="28956" y="50"/>
                      </a:moveTo>
                      <a:lnTo>
                        <a:pt x="252985" y="86919"/>
                      </a:lnTo>
                      <a:lnTo>
                        <a:pt x="262128" y="1185722"/>
                      </a:lnTo>
                      <a:lnTo>
                        <a:pt x="0" y="1243634"/>
                      </a:lnTo>
                      <a:cubicBezTo>
                        <a:pt x="0" y="1245155"/>
                        <a:pt x="19813" y="-9094"/>
                        <a:pt x="28956" y="5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2" name="Graphic 2">
                  <a:extLst>
                    <a:ext uri="{FF2B5EF4-FFF2-40B4-BE49-F238E27FC236}">
                      <a16:creationId xmlns:a16="http://schemas.microsoft.com/office/drawing/2014/main" id="{80F5B097-D8D6-403D-B4E6-D71B24BEDD5F}"/>
                    </a:ext>
                  </a:extLst>
                </p:cNvPr>
                <p:cNvSpPr/>
                <p:nvPr/>
              </p:nvSpPr>
              <p:spPr>
                <a:xfrm>
                  <a:off x="8237510" y="4915702"/>
                  <a:ext cx="88318" cy="216384"/>
                </a:xfrm>
                <a:custGeom>
                  <a:avLst/>
                  <a:gdLst>
                    <a:gd name="connsiteX0" fmla="*/ 0 w 1615436"/>
                    <a:gd name="connsiteY0" fmla="*/ 0 h 3957828"/>
                    <a:gd name="connsiteX1" fmla="*/ 0 w 1615436"/>
                    <a:gd name="connsiteY1" fmla="*/ 2967228 h 3957828"/>
                    <a:gd name="connsiteX2" fmla="*/ 155446 w 1615436"/>
                    <a:gd name="connsiteY2" fmla="*/ 3139441 h 3957828"/>
                    <a:gd name="connsiteX3" fmla="*/ 155446 w 1615436"/>
                    <a:gd name="connsiteY3" fmla="*/ 3677413 h 3957828"/>
                    <a:gd name="connsiteX4" fmla="*/ 1226818 w 1615436"/>
                    <a:gd name="connsiteY4" fmla="*/ 3957828 h 3957828"/>
                    <a:gd name="connsiteX5" fmla="*/ 1615436 w 1615436"/>
                    <a:gd name="connsiteY5" fmla="*/ 2075687 h 3957828"/>
                    <a:gd name="connsiteX6" fmla="*/ 1615436 w 1615436"/>
                    <a:gd name="connsiteY6" fmla="*/ 172213 h 395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5436" h="3957828">
                      <a:moveTo>
                        <a:pt x="0" y="0"/>
                      </a:moveTo>
                      <a:lnTo>
                        <a:pt x="0" y="2967228"/>
                      </a:lnTo>
                      <a:lnTo>
                        <a:pt x="155446" y="3139441"/>
                      </a:lnTo>
                      <a:lnTo>
                        <a:pt x="155446" y="3677413"/>
                      </a:lnTo>
                      <a:lnTo>
                        <a:pt x="1226818" y="3957828"/>
                      </a:lnTo>
                      <a:lnTo>
                        <a:pt x="1615436" y="2075687"/>
                      </a:lnTo>
                      <a:lnTo>
                        <a:pt x="1615436" y="172213"/>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3" name="Graphic 2">
                  <a:extLst>
                    <a:ext uri="{FF2B5EF4-FFF2-40B4-BE49-F238E27FC236}">
                      <a16:creationId xmlns:a16="http://schemas.microsoft.com/office/drawing/2014/main" id="{88E4B6EC-BA52-4C26-9255-E9EE28A357F6}"/>
                    </a:ext>
                  </a:extLst>
                </p:cNvPr>
                <p:cNvSpPr/>
                <p:nvPr/>
              </p:nvSpPr>
              <p:spPr>
                <a:xfrm>
                  <a:off x="8237510" y="4911870"/>
                  <a:ext cx="94984" cy="220216"/>
                </a:xfrm>
                <a:custGeom>
                  <a:avLst/>
                  <a:gdLst>
                    <a:gd name="connsiteX0" fmla="*/ 170687 w 1737359"/>
                    <a:gd name="connsiteY0" fmla="*/ 0 h 4027930"/>
                    <a:gd name="connsiteX1" fmla="*/ 0 w 1737359"/>
                    <a:gd name="connsiteY1" fmla="*/ 70103 h 4027930"/>
                    <a:gd name="connsiteX2" fmla="*/ 1615436 w 1737359"/>
                    <a:gd name="connsiteY2" fmla="*/ 242315 h 4027930"/>
                    <a:gd name="connsiteX3" fmla="*/ 1615436 w 1737359"/>
                    <a:gd name="connsiteY3" fmla="*/ 2145790 h 4027930"/>
                    <a:gd name="connsiteX4" fmla="*/ 1226818 w 1737359"/>
                    <a:gd name="connsiteY4" fmla="*/ 4027931 h 4027930"/>
                    <a:gd name="connsiteX5" fmla="*/ 1333500 w 1737359"/>
                    <a:gd name="connsiteY5" fmla="*/ 4015741 h 4027930"/>
                    <a:gd name="connsiteX6" fmla="*/ 1737359 w 1737359"/>
                    <a:gd name="connsiteY6" fmla="*/ 2135126 h 4027930"/>
                    <a:gd name="connsiteX7" fmla="*/ 1722118 w 1737359"/>
                    <a:gd name="connsiteY7" fmla="*/ 155446 h 402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7359" h="4027930">
                      <a:moveTo>
                        <a:pt x="170687" y="0"/>
                      </a:moveTo>
                      <a:lnTo>
                        <a:pt x="0" y="70103"/>
                      </a:lnTo>
                      <a:lnTo>
                        <a:pt x="1615436" y="242315"/>
                      </a:lnTo>
                      <a:lnTo>
                        <a:pt x="1615436" y="2145790"/>
                      </a:lnTo>
                      <a:lnTo>
                        <a:pt x="1226818" y="4027931"/>
                      </a:lnTo>
                      <a:lnTo>
                        <a:pt x="1333500" y="4015741"/>
                      </a:lnTo>
                      <a:lnTo>
                        <a:pt x="1737359" y="2135126"/>
                      </a:lnTo>
                      <a:lnTo>
                        <a:pt x="1722118" y="155446"/>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4" name="Graphic 2">
                  <a:extLst>
                    <a:ext uri="{FF2B5EF4-FFF2-40B4-BE49-F238E27FC236}">
                      <a16:creationId xmlns:a16="http://schemas.microsoft.com/office/drawing/2014/main" id="{3690150E-0883-411E-8E09-7A41FC2BDF6B}"/>
                    </a:ext>
                  </a:extLst>
                </p:cNvPr>
                <p:cNvSpPr/>
                <p:nvPr/>
              </p:nvSpPr>
              <p:spPr>
                <a:xfrm>
                  <a:off x="8242593" y="4926618"/>
                  <a:ext cx="10332" cy="28829"/>
                </a:xfrm>
                <a:custGeom>
                  <a:avLst/>
                  <a:gdLst>
                    <a:gd name="connsiteX0" fmla="*/ 188975 w 188976"/>
                    <a:gd name="connsiteY0" fmla="*/ 263652 h 527304"/>
                    <a:gd name="connsiteX1" fmla="*/ 94487 w 188976"/>
                    <a:gd name="connsiteY1" fmla="*/ 527306 h 527304"/>
                    <a:gd name="connsiteX2" fmla="*/ 0 w 188976"/>
                    <a:gd name="connsiteY2" fmla="*/ 263652 h 527304"/>
                    <a:gd name="connsiteX3" fmla="*/ 94487 w 188976"/>
                    <a:gd name="connsiteY3" fmla="*/ -2 h 527304"/>
                    <a:gd name="connsiteX4" fmla="*/ 188975 w 188976"/>
                    <a:gd name="connsiteY4" fmla="*/ 263652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5" y="263652"/>
                      </a:moveTo>
                      <a:cubicBezTo>
                        <a:pt x="188975" y="409262"/>
                        <a:pt x="146670" y="527306"/>
                        <a:pt x="94487" y="527306"/>
                      </a:cubicBezTo>
                      <a:cubicBezTo>
                        <a:pt x="42304" y="527306"/>
                        <a:pt x="0" y="409266"/>
                        <a:pt x="0" y="263652"/>
                      </a:cubicBezTo>
                      <a:cubicBezTo>
                        <a:pt x="0" y="118042"/>
                        <a:pt x="42304" y="-2"/>
                        <a:pt x="94487" y="-2"/>
                      </a:cubicBezTo>
                      <a:cubicBezTo>
                        <a:pt x="146670" y="-2"/>
                        <a:pt x="188975" y="118038"/>
                        <a:pt x="188975" y="263652"/>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5" name="Graphic 2">
                  <a:extLst>
                    <a:ext uri="{FF2B5EF4-FFF2-40B4-BE49-F238E27FC236}">
                      <a16:creationId xmlns:a16="http://schemas.microsoft.com/office/drawing/2014/main" id="{11976722-81E6-4FC8-B695-8F7E86E47902}"/>
                    </a:ext>
                  </a:extLst>
                </p:cNvPr>
                <p:cNvSpPr/>
                <p:nvPr/>
              </p:nvSpPr>
              <p:spPr>
                <a:xfrm>
                  <a:off x="8240676" y="4926618"/>
                  <a:ext cx="10332" cy="28829"/>
                </a:xfrm>
                <a:custGeom>
                  <a:avLst/>
                  <a:gdLst>
                    <a:gd name="connsiteX0" fmla="*/ 188977 w 188976"/>
                    <a:gd name="connsiteY0" fmla="*/ 263652 h 527304"/>
                    <a:gd name="connsiteX1" fmla="*/ 94490 w 188976"/>
                    <a:gd name="connsiteY1" fmla="*/ 527306 h 527304"/>
                    <a:gd name="connsiteX2" fmla="*/ 3 w 188976"/>
                    <a:gd name="connsiteY2" fmla="*/ 263652 h 527304"/>
                    <a:gd name="connsiteX3" fmla="*/ 94490 w 188976"/>
                    <a:gd name="connsiteY3" fmla="*/ -2 h 527304"/>
                    <a:gd name="connsiteX4" fmla="*/ 188977 w 188976"/>
                    <a:gd name="connsiteY4" fmla="*/ 263652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7" y="263652"/>
                      </a:moveTo>
                      <a:cubicBezTo>
                        <a:pt x="188977" y="409262"/>
                        <a:pt x="146673" y="527306"/>
                        <a:pt x="94490" y="527306"/>
                      </a:cubicBezTo>
                      <a:cubicBezTo>
                        <a:pt x="42307" y="527306"/>
                        <a:pt x="3" y="409266"/>
                        <a:pt x="3" y="263652"/>
                      </a:cubicBezTo>
                      <a:cubicBezTo>
                        <a:pt x="3" y="118042"/>
                        <a:pt x="42307" y="-2"/>
                        <a:pt x="94490" y="-2"/>
                      </a:cubicBezTo>
                      <a:cubicBezTo>
                        <a:pt x="146673" y="-2"/>
                        <a:pt x="188977" y="118038"/>
                        <a:pt x="188977" y="263652"/>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6" name="Graphic 2">
                  <a:extLst>
                    <a:ext uri="{FF2B5EF4-FFF2-40B4-BE49-F238E27FC236}">
                      <a16:creationId xmlns:a16="http://schemas.microsoft.com/office/drawing/2014/main" id="{E809D47F-1BDB-4D03-92E2-E2E9BF95ED82}"/>
                    </a:ext>
                  </a:extLst>
                </p:cNvPr>
                <p:cNvSpPr/>
                <p:nvPr/>
              </p:nvSpPr>
              <p:spPr>
                <a:xfrm>
                  <a:off x="8250508" y="5097341"/>
                  <a:ext cx="5332" cy="14998"/>
                </a:xfrm>
                <a:custGeom>
                  <a:avLst/>
                  <a:gdLst>
                    <a:gd name="connsiteX0" fmla="*/ 97535 w 97535"/>
                    <a:gd name="connsiteY0" fmla="*/ 137161 h 274319"/>
                    <a:gd name="connsiteX1" fmla="*/ 48766 w 97535"/>
                    <a:gd name="connsiteY1" fmla="*/ 274320 h 274319"/>
                    <a:gd name="connsiteX2" fmla="*/ -3 w 97535"/>
                    <a:gd name="connsiteY2" fmla="*/ 137161 h 274319"/>
                    <a:gd name="connsiteX3" fmla="*/ 48766 w 97535"/>
                    <a:gd name="connsiteY3" fmla="*/ 1 h 274319"/>
                    <a:gd name="connsiteX4" fmla="*/ 97535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5" y="137161"/>
                      </a:moveTo>
                      <a:cubicBezTo>
                        <a:pt x="97535" y="212914"/>
                        <a:pt x="75700" y="274320"/>
                        <a:pt x="48766" y="274320"/>
                      </a:cubicBezTo>
                      <a:cubicBezTo>
                        <a:pt x="21833" y="274320"/>
                        <a:pt x="-3" y="212909"/>
                        <a:pt x="-3" y="137161"/>
                      </a:cubicBezTo>
                      <a:cubicBezTo>
                        <a:pt x="-3" y="61407"/>
                        <a:pt x="21833" y="1"/>
                        <a:pt x="48766" y="1"/>
                      </a:cubicBezTo>
                      <a:cubicBezTo>
                        <a:pt x="75700" y="1"/>
                        <a:pt x="97535" y="61412"/>
                        <a:pt x="97535" y="137161"/>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7" name="Graphic 2">
                  <a:extLst>
                    <a:ext uri="{FF2B5EF4-FFF2-40B4-BE49-F238E27FC236}">
                      <a16:creationId xmlns:a16="http://schemas.microsoft.com/office/drawing/2014/main" id="{33BF5EF2-D7C5-43F9-99ED-A950759E5C94}"/>
                    </a:ext>
                  </a:extLst>
                </p:cNvPr>
                <p:cNvSpPr/>
                <p:nvPr/>
              </p:nvSpPr>
              <p:spPr>
                <a:xfrm>
                  <a:off x="8249508" y="5097341"/>
                  <a:ext cx="5332" cy="14998"/>
                </a:xfrm>
                <a:custGeom>
                  <a:avLst/>
                  <a:gdLst>
                    <a:gd name="connsiteX0" fmla="*/ 97536 w 97535"/>
                    <a:gd name="connsiteY0" fmla="*/ 137161 h 274319"/>
                    <a:gd name="connsiteX1" fmla="*/ 48767 w 97535"/>
                    <a:gd name="connsiteY1" fmla="*/ 274320 h 274319"/>
                    <a:gd name="connsiteX2" fmla="*/ -2 w 97535"/>
                    <a:gd name="connsiteY2" fmla="*/ 137161 h 274319"/>
                    <a:gd name="connsiteX3" fmla="*/ 48767 w 97535"/>
                    <a:gd name="connsiteY3" fmla="*/ 1 h 274319"/>
                    <a:gd name="connsiteX4" fmla="*/ 97536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6" y="137161"/>
                      </a:moveTo>
                      <a:cubicBezTo>
                        <a:pt x="97536" y="212914"/>
                        <a:pt x="75700" y="274320"/>
                        <a:pt x="48767" y="274320"/>
                      </a:cubicBezTo>
                      <a:cubicBezTo>
                        <a:pt x="21834" y="274320"/>
                        <a:pt x="-2" y="212909"/>
                        <a:pt x="-2" y="137161"/>
                      </a:cubicBezTo>
                      <a:cubicBezTo>
                        <a:pt x="-2" y="61407"/>
                        <a:pt x="21834" y="1"/>
                        <a:pt x="48767" y="1"/>
                      </a:cubicBezTo>
                      <a:cubicBezTo>
                        <a:pt x="75700" y="1"/>
                        <a:pt x="97536" y="61412"/>
                        <a:pt x="97536" y="137161"/>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8" name="Graphic 2">
                  <a:extLst>
                    <a:ext uri="{FF2B5EF4-FFF2-40B4-BE49-F238E27FC236}">
                      <a16:creationId xmlns:a16="http://schemas.microsoft.com/office/drawing/2014/main" id="{1EC4F9D9-D7BD-4300-AFB4-C1541D1EEAA3}"/>
                    </a:ext>
                  </a:extLst>
                </p:cNvPr>
                <p:cNvSpPr/>
                <p:nvPr/>
              </p:nvSpPr>
              <p:spPr>
                <a:xfrm>
                  <a:off x="8294750" y="5107507"/>
                  <a:ext cx="5332" cy="14998"/>
                </a:xfrm>
                <a:custGeom>
                  <a:avLst/>
                  <a:gdLst>
                    <a:gd name="connsiteX0" fmla="*/ 97535 w 97535"/>
                    <a:gd name="connsiteY0" fmla="*/ 137161 h 274319"/>
                    <a:gd name="connsiteX1" fmla="*/ 48766 w 97535"/>
                    <a:gd name="connsiteY1" fmla="*/ 274320 h 274319"/>
                    <a:gd name="connsiteX2" fmla="*/ -3 w 97535"/>
                    <a:gd name="connsiteY2" fmla="*/ 137161 h 274319"/>
                    <a:gd name="connsiteX3" fmla="*/ 48766 w 97535"/>
                    <a:gd name="connsiteY3" fmla="*/ 2 h 274319"/>
                    <a:gd name="connsiteX4" fmla="*/ 97535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5" y="137161"/>
                      </a:moveTo>
                      <a:cubicBezTo>
                        <a:pt x="97535" y="212914"/>
                        <a:pt x="75699" y="274320"/>
                        <a:pt x="48766" y="274320"/>
                      </a:cubicBezTo>
                      <a:cubicBezTo>
                        <a:pt x="21833" y="274320"/>
                        <a:pt x="-3" y="212910"/>
                        <a:pt x="-3" y="137161"/>
                      </a:cubicBezTo>
                      <a:cubicBezTo>
                        <a:pt x="-3" y="61407"/>
                        <a:pt x="21833" y="2"/>
                        <a:pt x="48766" y="2"/>
                      </a:cubicBezTo>
                      <a:cubicBezTo>
                        <a:pt x="75699" y="2"/>
                        <a:pt x="97535" y="61412"/>
                        <a:pt x="97535" y="137161"/>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9" name="Graphic 2">
                  <a:extLst>
                    <a:ext uri="{FF2B5EF4-FFF2-40B4-BE49-F238E27FC236}">
                      <a16:creationId xmlns:a16="http://schemas.microsoft.com/office/drawing/2014/main" id="{B3624ECC-5AA8-4EF0-B442-103B5F05FCA5}"/>
                    </a:ext>
                  </a:extLst>
                </p:cNvPr>
                <p:cNvSpPr/>
                <p:nvPr/>
              </p:nvSpPr>
              <p:spPr>
                <a:xfrm>
                  <a:off x="8293834" y="5107507"/>
                  <a:ext cx="5332" cy="14998"/>
                </a:xfrm>
                <a:custGeom>
                  <a:avLst/>
                  <a:gdLst>
                    <a:gd name="connsiteX0" fmla="*/ 97537 w 97535"/>
                    <a:gd name="connsiteY0" fmla="*/ 137161 h 274319"/>
                    <a:gd name="connsiteX1" fmla="*/ 48768 w 97535"/>
                    <a:gd name="connsiteY1" fmla="*/ 274320 h 274319"/>
                    <a:gd name="connsiteX2" fmla="*/ -1 w 97535"/>
                    <a:gd name="connsiteY2" fmla="*/ 137161 h 274319"/>
                    <a:gd name="connsiteX3" fmla="*/ 48768 w 97535"/>
                    <a:gd name="connsiteY3" fmla="*/ 2 h 274319"/>
                    <a:gd name="connsiteX4" fmla="*/ 97537 w 97535"/>
                    <a:gd name="connsiteY4" fmla="*/ 137161 h 2743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5" h="274319">
                      <a:moveTo>
                        <a:pt x="97537" y="137161"/>
                      </a:moveTo>
                      <a:cubicBezTo>
                        <a:pt x="97537" y="212914"/>
                        <a:pt x="75701" y="274320"/>
                        <a:pt x="48768" y="274320"/>
                      </a:cubicBezTo>
                      <a:cubicBezTo>
                        <a:pt x="21835" y="274320"/>
                        <a:pt x="-1" y="212910"/>
                        <a:pt x="-1" y="137161"/>
                      </a:cubicBezTo>
                      <a:cubicBezTo>
                        <a:pt x="-1" y="61407"/>
                        <a:pt x="21835" y="2"/>
                        <a:pt x="48768" y="2"/>
                      </a:cubicBezTo>
                      <a:cubicBezTo>
                        <a:pt x="75701" y="2"/>
                        <a:pt x="97537" y="61412"/>
                        <a:pt x="97537" y="137161"/>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0" name="Graphic 2">
                  <a:extLst>
                    <a:ext uri="{FF2B5EF4-FFF2-40B4-BE49-F238E27FC236}">
                      <a16:creationId xmlns:a16="http://schemas.microsoft.com/office/drawing/2014/main" id="{B30AB9C4-C7B9-48D1-B8EA-ACFCE874ABF7}"/>
                    </a:ext>
                  </a:extLst>
                </p:cNvPr>
                <p:cNvSpPr/>
                <p:nvPr/>
              </p:nvSpPr>
              <p:spPr>
                <a:xfrm>
                  <a:off x="8306748" y="4933283"/>
                  <a:ext cx="10332" cy="28829"/>
                </a:xfrm>
                <a:custGeom>
                  <a:avLst/>
                  <a:gdLst>
                    <a:gd name="connsiteX0" fmla="*/ 188976 w 188976"/>
                    <a:gd name="connsiteY0" fmla="*/ 263650 h 527304"/>
                    <a:gd name="connsiteX1" fmla="*/ 94489 w 188976"/>
                    <a:gd name="connsiteY1" fmla="*/ 527304 h 527304"/>
                    <a:gd name="connsiteX2" fmla="*/ 2 w 188976"/>
                    <a:gd name="connsiteY2" fmla="*/ 263650 h 527304"/>
                    <a:gd name="connsiteX3" fmla="*/ 94489 w 188976"/>
                    <a:gd name="connsiteY3" fmla="*/ -4 h 527304"/>
                    <a:gd name="connsiteX4" fmla="*/ 188976 w 188976"/>
                    <a:gd name="connsiteY4" fmla="*/ 263650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6" y="263650"/>
                      </a:moveTo>
                      <a:cubicBezTo>
                        <a:pt x="188976" y="409260"/>
                        <a:pt x="146672" y="527304"/>
                        <a:pt x="94489" y="527304"/>
                      </a:cubicBezTo>
                      <a:cubicBezTo>
                        <a:pt x="42306" y="527304"/>
                        <a:pt x="2" y="409265"/>
                        <a:pt x="2" y="263650"/>
                      </a:cubicBezTo>
                      <a:cubicBezTo>
                        <a:pt x="2" y="118040"/>
                        <a:pt x="42306" y="-4"/>
                        <a:pt x="94489" y="-4"/>
                      </a:cubicBezTo>
                      <a:cubicBezTo>
                        <a:pt x="146672" y="-4"/>
                        <a:pt x="188976" y="118036"/>
                        <a:pt x="188976" y="26365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1" name="Graphic 2">
                  <a:extLst>
                    <a:ext uri="{FF2B5EF4-FFF2-40B4-BE49-F238E27FC236}">
                      <a16:creationId xmlns:a16="http://schemas.microsoft.com/office/drawing/2014/main" id="{62BD802B-DAC7-43C5-984A-1A8EBA8FF319}"/>
                    </a:ext>
                  </a:extLst>
                </p:cNvPr>
                <p:cNvSpPr/>
                <p:nvPr/>
              </p:nvSpPr>
              <p:spPr>
                <a:xfrm>
                  <a:off x="8304915" y="4933283"/>
                  <a:ext cx="10332" cy="28829"/>
                </a:xfrm>
                <a:custGeom>
                  <a:avLst/>
                  <a:gdLst>
                    <a:gd name="connsiteX0" fmla="*/ 188976 w 188976"/>
                    <a:gd name="connsiteY0" fmla="*/ 263650 h 527304"/>
                    <a:gd name="connsiteX1" fmla="*/ 94489 w 188976"/>
                    <a:gd name="connsiteY1" fmla="*/ 527304 h 527304"/>
                    <a:gd name="connsiteX2" fmla="*/ 2 w 188976"/>
                    <a:gd name="connsiteY2" fmla="*/ 263650 h 527304"/>
                    <a:gd name="connsiteX3" fmla="*/ 94489 w 188976"/>
                    <a:gd name="connsiteY3" fmla="*/ -4 h 527304"/>
                    <a:gd name="connsiteX4" fmla="*/ 188976 w 188976"/>
                    <a:gd name="connsiteY4" fmla="*/ 263650 h 527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76" h="527304">
                      <a:moveTo>
                        <a:pt x="188976" y="263650"/>
                      </a:moveTo>
                      <a:cubicBezTo>
                        <a:pt x="188976" y="409260"/>
                        <a:pt x="146672" y="527304"/>
                        <a:pt x="94489" y="527304"/>
                      </a:cubicBezTo>
                      <a:cubicBezTo>
                        <a:pt x="42306" y="527304"/>
                        <a:pt x="2" y="409265"/>
                        <a:pt x="2" y="263650"/>
                      </a:cubicBezTo>
                      <a:cubicBezTo>
                        <a:pt x="2" y="118040"/>
                        <a:pt x="42306" y="-4"/>
                        <a:pt x="94489" y="-4"/>
                      </a:cubicBezTo>
                      <a:cubicBezTo>
                        <a:pt x="146672" y="-4"/>
                        <a:pt x="188976" y="118036"/>
                        <a:pt x="188976" y="263650"/>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2" name="Graphic 2">
                  <a:extLst>
                    <a:ext uri="{FF2B5EF4-FFF2-40B4-BE49-F238E27FC236}">
                      <a16:creationId xmlns:a16="http://schemas.microsoft.com/office/drawing/2014/main" id="{5062C685-4FF1-401B-A4A6-F547A6858980}"/>
                    </a:ext>
                  </a:extLst>
                </p:cNvPr>
                <p:cNvSpPr/>
                <p:nvPr/>
              </p:nvSpPr>
              <p:spPr>
                <a:xfrm>
                  <a:off x="8059374" y="4970944"/>
                  <a:ext cx="239876" cy="50492"/>
                </a:xfrm>
                <a:custGeom>
                  <a:avLst/>
                  <a:gdLst>
                    <a:gd name="connsiteX0" fmla="*/ 4387593 w 4387592"/>
                    <a:gd name="connsiteY0" fmla="*/ 173738 h 923543"/>
                    <a:gd name="connsiteX1" fmla="*/ 301749 w 4387592"/>
                    <a:gd name="connsiteY1" fmla="*/ 923544 h 923543"/>
                    <a:gd name="connsiteX2" fmla="*/ 77721 w 4387592"/>
                    <a:gd name="connsiteY2" fmla="*/ 835154 h 923543"/>
                    <a:gd name="connsiteX3" fmla="*/ 0 w 4387592"/>
                    <a:gd name="connsiteY3" fmla="*/ 679703 h 923543"/>
                    <a:gd name="connsiteX4" fmla="*/ 3278121 w 4387592"/>
                    <a:gd name="connsiteY4" fmla="*/ 0 h 923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7592" h="923543">
                      <a:moveTo>
                        <a:pt x="4387593" y="173738"/>
                      </a:moveTo>
                      <a:lnTo>
                        <a:pt x="301749" y="923544"/>
                      </a:lnTo>
                      <a:lnTo>
                        <a:pt x="77721" y="835154"/>
                      </a:lnTo>
                      <a:lnTo>
                        <a:pt x="0" y="679703"/>
                      </a:lnTo>
                      <a:lnTo>
                        <a:pt x="3278121" y="0"/>
                      </a:lnTo>
                      <a:close/>
                    </a:path>
                  </a:pathLst>
                </a:custGeom>
                <a:solidFill>
                  <a:schemeClr val="bg1">
                    <a:lumMod val="75000"/>
                  </a:schemeClr>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3" name="Graphic 2">
                  <a:extLst>
                    <a:ext uri="{FF2B5EF4-FFF2-40B4-BE49-F238E27FC236}">
                      <a16:creationId xmlns:a16="http://schemas.microsoft.com/office/drawing/2014/main" id="{B5246D5A-F6D1-4D44-9D2B-84C8A627BC83}"/>
                    </a:ext>
                  </a:extLst>
                </p:cNvPr>
                <p:cNvSpPr/>
                <p:nvPr/>
              </p:nvSpPr>
              <p:spPr>
                <a:xfrm>
                  <a:off x="8012048" y="5085843"/>
                  <a:ext cx="34661" cy="17164"/>
                </a:xfrm>
                <a:custGeom>
                  <a:avLst/>
                  <a:gdLst>
                    <a:gd name="connsiteX0" fmla="*/ 0 w 633984"/>
                    <a:gd name="connsiteY0" fmla="*/ 0 h 313943"/>
                    <a:gd name="connsiteX1" fmla="*/ 0 w 633984"/>
                    <a:gd name="connsiteY1" fmla="*/ 53341 h 313943"/>
                    <a:gd name="connsiteX2" fmla="*/ 0 w 633984"/>
                    <a:gd name="connsiteY2" fmla="*/ 86869 h 313943"/>
                    <a:gd name="connsiteX3" fmla="*/ 0 w 633984"/>
                    <a:gd name="connsiteY3" fmla="*/ 102105 h 313943"/>
                    <a:gd name="connsiteX4" fmla="*/ 0 w 633984"/>
                    <a:gd name="connsiteY4" fmla="*/ 140205 h 313943"/>
                    <a:gd name="connsiteX5" fmla="*/ 0 w 633984"/>
                    <a:gd name="connsiteY5" fmla="*/ 188975 h 313943"/>
                    <a:gd name="connsiteX6" fmla="*/ 166120 w 633984"/>
                    <a:gd name="connsiteY6" fmla="*/ 228600 h 313943"/>
                    <a:gd name="connsiteX7" fmla="*/ 166120 w 633984"/>
                    <a:gd name="connsiteY7" fmla="*/ 243841 h 313943"/>
                    <a:gd name="connsiteX8" fmla="*/ 166120 w 633984"/>
                    <a:gd name="connsiteY8" fmla="*/ 251459 h 313943"/>
                    <a:gd name="connsiteX9" fmla="*/ 166120 w 633984"/>
                    <a:gd name="connsiteY9" fmla="*/ 269746 h 313943"/>
                    <a:gd name="connsiteX10" fmla="*/ 166120 w 633984"/>
                    <a:gd name="connsiteY10" fmla="*/ 292605 h 313943"/>
                    <a:gd name="connsiteX11" fmla="*/ 316995 w 633984"/>
                    <a:gd name="connsiteY11" fmla="*/ 313944 h 313943"/>
                    <a:gd name="connsiteX12" fmla="*/ 467869 w 633984"/>
                    <a:gd name="connsiteY12" fmla="*/ 292605 h 313943"/>
                    <a:gd name="connsiteX13" fmla="*/ 467869 w 633984"/>
                    <a:gd name="connsiteY13" fmla="*/ 269746 h 313943"/>
                    <a:gd name="connsiteX14" fmla="*/ 467869 w 633984"/>
                    <a:gd name="connsiteY14" fmla="*/ 251459 h 313943"/>
                    <a:gd name="connsiteX15" fmla="*/ 467869 w 633984"/>
                    <a:gd name="connsiteY15" fmla="*/ 243841 h 313943"/>
                    <a:gd name="connsiteX16" fmla="*/ 467869 w 633984"/>
                    <a:gd name="connsiteY16" fmla="*/ 228600 h 313943"/>
                    <a:gd name="connsiteX17" fmla="*/ 633985 w 633984"/>
                    <a:gd name="connsiteY17" fmla="*/ 188975 h 313943"/>
                    <a:gd name="connsiteX18" fmla="*/ 633985 w 633984"/>
                    <a:gd name="connsiteY18" fmla="*/ 140205 h 313943"/>
                    <a:gd name="connsiteX19" fmla="*/ 633985 w 633984"/>
                    <a:gd name="connsiteY19" fmla="*/ 102105 h 313943"/>
                    <a:gd name="connsiteX20" fmla="*/ 633985 w 633984"/>
                    <a:gd name="connsiteY20" fmla="*/ 86869 h 313943"/>
                    <a:gd name="connsiteX21" fmla="*/ 633985 w 633984"/>
                    <a:gd name="connsiteY21" fmla="*/ 53341 h 313943"/>
                    <a:gd name="connsiteX22" fmla="*/ 633985 w 633984"/>
                    <a:gd name="connsiteY22" fmla="*/ 0 h 313943"/>
                    <a:gd name="connsiteX23" fmla="*/ 0 w 633984"/>
                    <a:gd name="connsiteY23" fmla="*/ 0 h 31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984" h="313943">
                      <a:moveTo>
                        <a:pt x="0" y="0"/>
                      </a:moveTo>
                      <a:lnTo>
                        <a:pt x="0" y="53341"/>
                      </a:lnTo>
                      <a:lnTo>
                        <a:pt x="0" y="86869"/>
                      </a:lnTo>
                      <a:lnTo>
                        <a:pt x="0" y="102105"/>
                      </a:lnTo>
                      <a:lnTo>
                        <a:pt x="0" y="140205"/>
                      </a:lnTo>
                      <a:lnTo>
                        <a:pt x="0" y="188975"/>
                      </a:lnTo>
                      <a:cubicBezTo>
                        <a:pt x="0" y="205741"/>
                        <a:pt x="67056" y="220977"/>
                        <a:pt x="166120" y="228600"/>
                      </a:cubicBezTo>
                      <a:lnTo>
                        <a:pt x="166120" y="243841"/>
                      </a:lnTo>
                      <a:lnTo>
                        <a:pt x="166120" y="251459"/>
                      </a:lnTo>
                      <a:lnTo>
                        <a:pt x="166120" y="269746"/>
                      </a:lnTo>
                      <a:lnTo>
                        <a:pt x="166120" y="292605"/>
                      </a:lnTo>
                      <a:cubicBezTo>
                        <a:pt x="166120" y="304800"/>
                        <a:pt x="233172" y="313944"/>
                        <a:pt x="316995" y="313944"/>
                      </a:cubicBezTo>
                      <a:cubicBezTo>
                        <a:pt x="400813" y="313944"/>
                        <a:pt x="467869" y="304800"/>
                        <a:pt x="467869" y="292605"/>
                      </a:cubicBezTo>
                      <a:lnTo>
                        <a:pt x="467869" y="269746"/>
                      </a:lnTo>
                      <a:lnTo>
                        <a:pt x="467869" y="251459"/>
                      </a:lnTo>
                      <a:lnTo>
                        <a:pt x="467869" y="243841"/>
                      </a:lnTo>
                      <a:lnTo>
                        <a:pt x="467869" y="228600"/>
                      </a:lnTo>
                      <a:cubicBezTo>
                        <a:pt x="566928" y="220977"/>
                        <a:pt x="633985" y="205741"/>
                        <a:pt x="633985" y="188975"/>
                      </a:cubicBezTo>
                      <a:lnTo>
                        <a:pt x="633985" y="140205"/>
                      </a:lnTo>
                      <a:lnTo>
                        <a:pt x="633985" y="102105"/>
                      </a:lnTo>
                      <a:lnTo>
                        <a:pt x="633985" y="86869"/>
                      </a:lnTo>
                      <a:lnTo>
                        <a:pt x="633985" y="53341"/>
                      </a:lnTo>
                      <a:lnTo>
                        <a:pt x="633985"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4" name="Graphic 2">
                  <a:extLst>
                    <a:ext uri="{FF2B5EF4-FFF2-40B4-BE49-F238E27FC236}">
                      <a16:creationId xmlns:a16="http://schemas.microsoft.com/office/drawing/2014/main" id="{944FF54F-9FEB-4CC5-80CE-FED4FE9A4A39}"/>
                    </a:ext>
                  </a:extLst>
                </p:cNvPr>
                <p:cNvSpPr/>
                <p:nvPr/>
              </p:nvSpPr>
              <p:spPr>
                <a:xfrm>
                  <a:off x="8011965" y="5083427"/>
                  <a:ext cx="34661" cy="4833"/>
                </a:xfrm>
                <a:custGeom>
                  <a:avLst/>
                  <a:gdLst>
                    <a:gd name="connsiteX0" fmla="*/ 633986 w 633983"/>
                    <a:gd name="connsiteY0" fmla="*/ 44197 h 88392"/>
                    <a:gd name="connsiteX1" fmla="*/ 316996 w 633983"/>
                    <a:gd name="connsiteY1" fmla="*/ 88394 h 88392"/>
                    <a:gd name="connsiteX2" fmla="*/ 6 w 633983"/>
                    <a:gd name="connsiteY2" fmla="*/ 44197 h 88392"/>
                    <a:gd name="connsiteX3" fmla="*/ 316996 w 633983"/>
                    <a:gd name="connsiteY3" fmla="*/ -1 h 88392"/>
                    <a:gd name="connsiteX4" fmla="*/ 633986 w 633983"/>
                    <a:gd name="connsiteY4" fmla="*/ 44197 h 88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983" h="88392">
                      <a:moveTo>
                        <a:pt x="633986" y="44197"/>
                      </a:moveTo>
                      <a:cubicBezTo>
                        <a:pt x="633986" y="68605"/>
                        <a:pt x="492064" y="88394"/>
                        <a:pt x="316996" y="88394"/>
                      </a:cubicBezTo>
                      <a:cubicBezTo>
                        <a:pt x="141927" y="88394"/>
                        <a:pt x="6" y="68605"/>
                        <a:pt x="6" y="44197"/>
                      </a:cubicBezTo>
                      <a:cubicBezTo>
                        <a:pt x="6" y="19789"/>
                        <a:pt x="141927" y="-1"/>
                        <a:pt x="316996" y="-1"/>
                      </a:cubicBezTo>
                      <a:cubicBezTo>
                        <a:pt x="492064" y="-1"/>
                        <a:pt x="633986" y="19789"/>
                        <a:pt x="633986" y="44197"/>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5" name="Graphic 2">
                  <a:extLst>
                    <a:ext uri="{FF2B5EF4-FFF2-40B4-BE49-F238E27FC236}">
                      <a16:creationId xmlns:a16="http://schemas.microsoft.com/office/drawing/2014/main" id="{B614FCAB-4B8D-410C-9EFD-3B79E318A54F}"/>
                    </a:ext>
                  </a:extLst>
                </p:cNvPr>
                <p:cNvSpPr/>
                <p:nvPr/>
              </p:nvSpPr>
              <p:spPr>
                <a:xfrm>
                  <a:off x="7991135" y="5014687"/>
                  <a:ext cx="76487" cy="74072"/>
                </a:xfrm>
                <a:custGeom>
                  <a:avLst/>
                  <a:gdLst>
                    <a:gd name="connsiteX0" fmla="*/ 1397505 w 1399030"/>
                    <a:gd name="connsiteY0" fmla="*/ 0 h 1354838"/>
                    <a:gd name="connsiteX1" fmla="*/ 0 w 1399030"/>
                    <a:gd name="connsiteY1" fmla="*/ 0 h 1354838"/>
                    <a:gd name="connsiteX2" fmla="*/ 0 w 1399030"/>
                    <a:gd name="connsiteY2" fmla="*/ 1251203 h 1354838"/>
                    <a:gd name="connsiteX3" fmla="*/ 3046 w 1399030"/>
                    <a:gd name="connsiteY3" fmla="*/ 1251203 h 1354838"/>
                    <a:gd name="connsiteX4" fmla="*/ 0 w 1399030"/>
                    <a:gd name="connsiteY4" fmla="*/ 1255775 h 1354838"/>
                    <a:gd name="connsiteX5" fmla="*/ 699515 w 1399030"/>
                    <a:gd name="connsiteY5" fmla="*/ 1354838 h 1354838"/>
                    <a:gd name="connsiteX6" fmla="*/ 1399031 w 1399030"/>
                    <a:gd name="connsiteY6" fmla="*/ 1255775 h 1354838"/>
                    <a:gd name="connsiteX7" fmla="*/ 1394459 w 1399030"/>
                    <a:gd name="connsiteY7" fmla="*/ 1248156 h 1354838"/>
                    <a:gd name="connsiteX8" fmla="*/ 1399031 w 1399030"/>
                    <a:gd name="connsiteY8" fmla="*/ 1246631 h 1354838"/>
                    <a:gd name="connsiteX9" fmla="*/ 1399031 w 1399030"/>
                    <a:gd name="connsiteY9" fmla="*/ 0 h 135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9030" h="1354838">
                      <a:moveTo>
                        <a:pt x="1397505" y="0"/>
                      </a:moveTo>
                      <a:lnTo>
                        <a:pt x="0" y="0"/>
                      </a:lnTo>
                      <a:lnTo>
                        <a:pt x="0" y="1251203"/>
                      </a:lnTo>
                      <a:cubicBezTo>
                        <a:pt x="1521" y="1251203"/>
                        <a:pt x="1521" y="1251203"/>
                        <a:pt x="3046" y="1251203"/>
                      </a:cubicBezTo>
                      <a:cubicBezTo>
                        <a:pt x="3046" y="1252728"/>
                        <a:pt x="0" y="1254254"/>
                        <a:pt x="0" y="1255775"/>
                      </a:cubicBezTo>
                      <a:cubicBezTo>
                        <a:pt x="0" y="1310641"/>
                        <a:pt x="312418" y="1354838"/>
                        <a:pt x="699515" y="1354838"/>
                      </a:cubicBezTo>
                      <a:cubicBezTo>
                        <a:pt x="1086613" y="1354838"/>
                        <a:pt x="1399031" y="1310641"/>
                        <a:pt x="1399031" y="1255775"/>
                      </a:cubicBezTo>
                      <a:cubicBezTo>
                        <a:pt x="1399031" y="1252728"/>
                        <a:pt x="1394459" y="1251203"/>
                        <a:pt x="1394459" y="1248156"/>
                      </a:cubicBezTo>
                      <a:cubicBezTo>
                        <a:pt x="1395985" y="1248156"/>
                        <a:pt x="1397505" y="1248156"/>
                        <a:pt x="1399031" y="1246631"/>
                      </a:cubicBezTo>
                      <a:lnTo>
                        <a:pt x="1399031" y="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6" name="Graphic 2">
                  <a:extLst>
                    <a:ext uri="{FF2B5EF4-FFF2-40B4-BE49-F238E27FC236}">
                      <a16:creationId xmlns:a16="http://schemas.microsoft.com/office/drawing/2014/main" id="{379E5A76-16EB-4902-81CD-6E1C18988F2F}"/>
                    </a:ext>
                  </a:extLst>
                </p:cNvPr>
                <p:cNvSpPr/>
                <p:nvPr/>
              </p:nvSpPr>
              <p:spPr>
                <a:xfrm>
                  <a:off x="7985970" y="5001523"/>
                  <a:ext cx="86652" cy="18080"/>
                </a:xfrm>
                <a:custGeom>
                  <a:avLst/>
                  <a:gdLst>
                    <a:gd name="connsiteX0" fmla="*/ 0 w 1584959"/>
                    <a:gd name="connsiteY0" fmla="*/ 0 h 330705"/>
                    <a:gd name="connsiteX1" fmla="*/ 0 w 1584959"/>
                    <a:gd name="connsiteY1" fmla="*/ 219456 h 330705"/>
                    <a:gd name="connsiteX2" fmla="*/ 792477 w 1584959"/>
                    <a:gd name="connsiteY2" fmla="*/ 330705 h 330705"/>
                    <a:gd name="connsiteX3" fmla="*/ 1584959 w 1584959"/>
                    <a:gd name="connsiteY3" fmla="*/ 219456 h 330705"/>
                    <a:gd name="connsiteX4" fmla="*/ 1584959 w 1584959"/>
                    <a:gd name="connsiteY4" fmla="*/ 0 h 330705"/>
                    <a:gd name="connsiteX5" fmla="*/ 0 w 1584959"/>
                    <a:gd name="connsiteY5" fmla="*/ 0 h 33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4959" h="330705">
                      <a:moveTo>
                        <a:pt x="0" y="0"/>
                      </a:moveTo>
                      <a:lnTo>
                        <a:pt x="0" y="219456"/>
                      </a:lnTo>
                      <a:cubicBezTo>
                        <a:pt x="0" y="281936"/>
                        <a:pt x="355090" y="330705"/>
                        <a:pt x="792477" y="330705"/>
                      </a:cubicBezTo>
                      <a:cubicBezTo>
                        <a:pt x="1229865" y="330705"/>
                        <a:pt x="1584959" y="280415"/>
                        <a:pt x="1584959" y="219456"/>
                      </a:cubicBezTo>
                      <a:lnTo>
                        <a:pt x="1584959"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7" name="Graphic 2">
                  <a:extLst>
                    <a:ext uri="{FF2B5EF4-FFF2-40B4-BE49-F238E27FC236}">
                      <a16:creationId xmlns:a16="http://schemas.microsoft.com/office/drawing/2014/main" id="{F78EC299-6CB0-45FE-9918-792CCE54268E}"/>
                    </a:ext>
                  </a:extLst>
                </p:cNvPr>
                <p:cNvSpPr/>
                <p:nvPr/>
              </p:nvSpPr>
              <p:spPr>
                <a:xfrm>
                  <a:off x="7985969" y="4995440"/>
                  <a:ext cx="86652" cy="12165"/>
                </a:xfrm>
                <a:custGeom>
                  <a:avLst/>
                  <a:gdLst>
                    <a:gd name="connsiteX0" fmla="*/ 1584961 w 1584959"/>
                    <a:gd name="connsiteY0" fmla="*/ 111253 h 222504"/>
                    <a:gd name="connsiteX1" fmla="*/ 792479 w 1584959"/>
                    <a:gd name="connsiteY1" fmla="*/ 222507 h 222504"/>
                    <a:gd name="connsiteX2" fmla="*/ -3 w 1584959"/>
                    <a:gd name="connsiteY2" fmla="*/ 111253 h 222504"/>
                    <a:gd name="connsiteX3" fmla="*/ 792479 w 1584959"/>
                    <a:gd name="connsiteY3" fmla="*/ 0 h 222504"/>
                    <a:gd name="connsiteX4" fmla="*/ 1584961 w 1584959"/>
                    <a:gd name="connsiteY4" fmla="*/ 111253 h 222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959" h="222504">
                      <a:moveTo>
                        <a:pt x="1584961" y="111253"/>
                      </a:moveTo>
                      <a:cubicBezTo>
                        <a:pt x="1584961" y="172696"/>
                        <a:pt x="1230155" y="222507"/>
                        <a:pt x="792479" y="222507"/>
                      </a:cubicBezTo>
                      <a:cubicBezTo>
                        <a:pt x="354803" y="222507"/>
                        <a:pt x="-3" y="172696"/>
                        <a:pt x="-3" y="111253"/>
                      </a:cubicBezTo>
                      <a:cubicBezTo>
                        <a:pt x="-3" y="49811"/>
                        <a:pt x="354803" y="0"/>
                        <a:pt x="792479" y="0"/>
                      </a:cubicBezTo>
                      <a:cubicBezTo>
                        <a:pt x="1230155" y="0"/>
                        <a:pt x="1584961" y="49811"/>
                        <a:pt x="1584961" y="111253"/>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8" name="Graphic 2">
                  <a:extLst>
                    <a:ext uri="{FF2B5EF4-FFF2-40B4-BE49-F238E27FC236}">
                      <a16:creationId xmlns:a16="http://schemas.microsoft.com/office/drawing/2014/main" id="{F01B08F3-3C7B-4170-A9EC-CA558F414139}"/>
                    </a:ext>
                  </a:extLst>
                </p:cNvPr>
                <p:cNvSpPr/>
                <p:nvPr/>
              </p:nvSpPr>
              <p:spPr>
                <a:xfrm>
                  <a:off x="8006716" y="4910287"/>
                  <a:ext cx="87735" cy="86653"/>
                </a:xfrm>
                <a:custGeom>
                  <a:avLst/>
                  <a:gdLst>
                    <a:gd name="connsiteX0" fmla="*/ 1118616 w 1604771"/>
                    <a:gd name="connsiteY0" fmla="*/ 1584959 h 1584959"/>
                    <a:gd name="connsiteX1" fmla="*/ 1118616 w 1604771"/>
                    <a:gd name="connsiteY1" fmla="*/ 573026 h 1584959"/>
                    <a:gd name="connsiteX2" fmla="*/ 1604772 w 1604771"/>
                    <a:gd name="connsiteY2" fmla="*/ 0 h 1584959"/>
                    <a:gd name="connsiteX3" fmla="*/ 0 w 1604771"/>
                    <a:gd name="connsiteY3" fmla="*/ 57913 h 1584959"/>
                    <a:gd name="connsiteX4" fmla="*/ 448056 w 1604771"/>
                    <a:gd name="connsiteY4" fmla="*/ 710185 h 1584959"/>
                    <a:gd name="connsiteX5" fmla="*/ 505969 w 1604771"/>
                    <a:gd name="connsiteY5" fmla="*/ 1584959 h 158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4771" h="1584959">
                      <a:moveTo>
                        <a:pt x="1118616" y="1584959"/>
                      </a:moveTo>
                      <a:lnTo>
                        <a:pt x="1118616" y="573026"/>
                      </a:lnTo>
                      <a:lnTo>
                        <a:pt x="1604772" y="0"/>
                      </a:lnTo>
                      <a:lnTo>
                        <a:pt x="0" y="57913"/>
                      </a:lnTo>
                      <a:lnTo>
                        <a:pt x="448056" y="710185"/>
                      </a:lnTo>
                      <a:lnTo>
                        <a:pt x="505969" y="1584959"/>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19" name="Graphic 2">
                  <a:extLst>
                    <a:ext uri="{FF2B5EF4-FFF2-40B4-BE49-F238E27FC236}">
                      <a16:creationId xmlns:a16="http://schemas.microsoft.com/office/drawing/2014/main" id="{491F61F6-CA70-42AD-986A-04595164225D}"/>
                    </a:ext>
                  </a:extLst>
                </p:cNvPr>
                <p:cNvSpPr/>
                <p:nvPr/>
              </p:nvSpPr>
              <p:spPr>
                <a:xfrm>
                  <a:off x="7966176" y="4913536"/>
                  <a:ext cx="68202" cy="86248"/>
                </a:xfrm>
                <a:custGeom>
                  <a:avLst/>
                  <a:gdLst>
                    <a:gd name="connsiteX0" fmla="*/ 0 w 1245110"/>
                    <a:gd name="connsiteY0" fmla="*/ 0 h 1588222"/>
                    <a:gd name="connsiteX1" fmla="*/ 632459 w 1245110"/>
                    <a:gd name="connsiteY1" fmla="*/ 652272 h 1588222"/>
                    <a:gd name="connsiteX2" fmla="*/ 534926 w 1245110"/>
                    <a:gd name="connsiteY2" fmla="*/ 1440177 h 1588222"/>
                    <a:gd name="connsiteX3" fmla="*/ 1245110 w 1245110"/>
                    <a:gd name="connsiteY3" fmla="*/ 1537716 h 1588222"/>
                    <a:gd name="connsiteX4" fmla="*/ 1187197 w 1245110"/>
                    <a:gd name="connsiteY4" fmla="*/ 662941 h 1588222"/>
                    <a:gd name="connsiteX5" fmla="*/ 739141 w 1245110"/>
                    <a:gd name="connsiteY5" fmla="*/ 10669 h 1588222"/>
                    <a:gd name="connsiteX6" fmla="*/ 0 w 1245110"/>
                    <a:gd name="connsiteY6" fmla="*/ 0 h 1588222"/>
                    <a:gd name="connsiteX0" fmla="*/ 0 w 1254635"/>
                    <a:gd name="connsiteY0" fmla="*/ 17906 h 1577553"/>
                    <a:gd name="connsiteX1" fmla="*/ 641984 w 1254635"/>
                    <a:gd name="connsiteY1" fmla="*/ 641603 h 1577553"/>
                    <a:gd name="connsiteX2" fmla="*/ 544451 w 1254635"/>
                    <a:gd name="connsiteY2" fmla="*/ 1429508 h 1577553"/>
                    <a:gd name="connsiteX3" fmla="*/ 1254635 w 1254635"/>
                    <a:gd name="connsiteY3" fmla="*/ 1527047 h 1577553"/>
                    <a:gd name="connsiteX4" fmla="*/ 1196722 w 1254635"/>
                    <a:gd name="connsiteY4" fmla="*/ 652272 h 1577553"/>
                    <a:gd name="connsiteX5" fmla="*/ 748666 w 1254635"/>
                    <a:gd name="connsiteY5" fmla="*/ 0 h 1577553"/>
                    <a:gd name="connsiteX6" fmla="*/ 0 w 1254635"/>
                    <a:gd name="connsiteY6" fmla="*/ 17906 h 1577553"/>
                    <a:gd name="connsiteX0" fmla="*/ 0 w 1237966"/>
                    <a:gd name="connsiteY0" fmla="*/ 27431 h 1577553"/>
                    <a:gd name="connsiteX1" fmla="*/ 625315 w 1237966"/>
                    <a:gd name="connsiteY1" fmla="*/ 641603 h 1577553"/>
                    <a:gd name="connsiteX2" fmla="*/ 527782 w 1237966"/>
                    <a:gd name="connsiteY2" fmla="*/ 1429508 h 1577553"/>
                    <a:gd name="connsiteX3" fmla="*/ 1237966 w 1237966"/>
                    <a:gd name="connsiteY3" fmla="*/ 1527047 h 1577553"/>
                    <a:gd name="connsiteX4" fmla="*/ 1180053 w 1237966"/>
                    <a:gd name="connsiteY4" fmla="*/ 652272 h 1577553"/>
                    <a:gd name="connsiteX5" fmla="*/ 731997 w 1237966"/>
                    <a:gd name="connsiteY5" fmla="*/ 0 h 1577553"/>
                    <a:gd name="connsiteX6" fmla="*/ 0 w 1237966"/>
                    <a:gd name="connsiteY6" fmla="*/ 27431 h 1577553"/>
                    <a:gd name="connsiteX0" fmla="*/ 0 w 1247491"/>
                    <a:gd name="connsiteY0" fmla="*/ 25050 h 1577553"/>
                    <a:gd name="connsiteX1" fmla="*/ 634840 w 1247491"/>
                    <a:gd name="connsiteY1" fmla="*/ 641603 h 1577553"/>
                    <a:gd name="connsiteX2" fmla="*/ 537307 w 1247491"/>
                    <a:gd name="connsiteY2" fmla="*/ 1429508 h 1577553"/>
                    <a:gd name="connsiteX3" fmla="*/ 1247491 w 1247491"/>
                    <a:gd name="connsiteY3" fmla="*/ 1527047 h 1577553"/>
                    <a:gd name="connsiteX4" fmla="*/ 1189578 w 1247491"/>
                    <a:gd name="connsiteY4" fmla="*/ 652272 h 1577553"/>
                    <a:gd name="connsiteX5" fmla="*/ 741522 w 1247491"/>
                    <a:gd name="connsiteY5" fmla="*/ 0 h 1577553"/>
                    <a:gd name="connsiteX6" fmla="*/ 0 w 1247491"/>
                    <a:gd name="connsiteY6" fmla="*/ 25050 h 157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7491" h="1577553">
                      <a:moveTo>
                        <a:pt x="0" y="25050"/>
                      </a:moveTo>
                      <a:cubicBezTo>
                        <a:pt x="210820" y="242474"/>
                        <a:pt x="424020" y="424179"/>
                        <a:pt x="634840" y="641603"/>
                      </a:cubicBezTo>
                      <a:cubicBezTo>
                        <a:pt x="634840" y="641603"/>
                        <a:pt x="148684" y="963165"/>
                        <a:pt x="537307" y="1429508"/>
                      </a:cubicBezTo>
                      <a:cubicBezTo>
                        <a:pt x="537307" y="1429508"/>
                        <a:pt x="761335" y="1682493"/>
                        <a:pt x="1247491" y="1527047"/>
                      </a:cubicBezTo>
                      <a:lnTo>
                        <a:pt x="1189578" y="652272"/>
                      </a:lnTo>
                      <a:lnTo>
                        <a:pt x="741522" y="0"/>
                      </a:lnTo>
                      <a:lnTo>
                        <a:pt x="0" y="2505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0" name="Graphic 2">
                  <a:extLst>
                    <a:ext uri="{FF2B5EF4-FFF2-40B4-BE49-F238E27FC236}">
                      <a16:creationId xmlns:a16="http://schemas.microsoft.com/office/drawing/2014/main" id="{5ACF083E-BE98-4C91-AE3E-295B7DD1B391}"/>
                    </a:ext>
                  </a:extLst>
                </p:cNvPr>
                <p:cNvSpPr/>
                <p:nvPr/>
              </p:nvSpPr>
              <p:spPr>
                <a:xfrm>
                  <a:off x="8007480" y="4892706"/>
                  <a:ext cx="93567" cy="21830"/>
                </a:xfrm>
                <a:custGeom>
                  <a:avLst/>
                  <a:gdLst>
                    <a:gd name="connsiteX0" fmla="*/ 1711454 w 1711453"/>
                    <a:gd name="connsiteY0" fmla="*/ 321564 h 399289"/>
                    <a:gd name="connsiteX1" fmla="*/ 1711454 w 1711453"/>
                    <a:gd name="connsiteY1" fmla="*/ 0 h 399289"/>
                    <a:gd name="connsiteX2" fmla="*/ 0 w 1711453"/>
                    <a:gd name="connsiteY2" fmla="*/ 68580 h 399289"/>
                    <a:gd name="connsiteX3" fmla="*/ 0 w 1711453"/>
                    <a:gd name="connsiteY3" fmla="*/ 399290 h 399289"/>
                  </a:gdLst>
                  <a:ahLst/>
                  <a:cxnLst>
                    <a:cxn ang="0">
                      <a:pos x="connsiteX0" y="connsiteY0"/>
                    </a:cxn>
                    <a:cxn ang="0">
                      <a:pos x="connsiteX1" y="connsiteY1"/>
                    </a:cxn>
                    <a:cxn ang="0">
                      <a:pos x="connsiteX2" y="connsiteY2"/>
                    </a:cxn>
                    <a:cxn ang="0">
                      <a:pos x="connsiteX3" y="connsiteY3"/>
                    </a:cxn>
                  </a:cxnLst>
                  <a:rect l="l" t="t" r="r" b="b"/>
                  <a:pathLst>
                    <a:path w="1711453" h="399289">
                      <a:moveTo>
                        <a:pt x="1711454" y="321564"/>
                      </a:moveTo>
                      <a:lnTo>
                        <a:pt x="1711454" y="0"/>
                      </a:lnTo>
                      <a:lnTo>
                        <a:pt x="0" y="68580"/>
                      </a:lnTo>
                      <a:lnTo>
                        <a:pt x="0" y="39929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1" name="Graphic 2">
                  <a:extLst>
                    <a:ext uri="{FF2B5EF4-FFF2-40B4-BE49-F238E27FC236}">
                      <a16:creationId xmlns:a16="http://schemas.microsoft.com/office/drawing/2014/main" id="{21F26072-F56C-41C2-A8C1-34A1319D3953}"/>
                    </a:ext>
                  </a:extLst>
                </p:cNvPr>
                <p:cNvSpPr/>
                <p:nvPr/>
              </p:nvSpPr>
              <p:spPr>
                <a:xfrm>
                  <a:off x="7966251" y="4898712"/>
                  <a:ext cx="41229" cy="16456"/>
                </a:xfrm>
                <a:custGeom>
                  <a:avLst/>
                  <a:gdLst>
                    <a:gd name="connsiteX0" fmla="*/ 0 w 739136"/>
                    <a:gd name="connsiteY0" fmla="*/ 97538 h 339853"/>
                    <a:gd name="connsiteX1" fmla="*/ 0 w 739136"/>
                    <a:gd name="connsiteY1" fmla="*/ 339854 h 339853"/>
                    <a:gd name="connsiteX2" fmla="*/ 739136 w 739136"/>
                    <a:gd name="connsiteY2" fmla="*/ 330710 h 339853"/>
                    <a:gd name="connsiteX3" fmla="*/ 739136 w 739136"/>
                    <a:gd name="connsiteY3" fmla="*/ 0 h 339853"/>
                  </a:gdLst>
                  <a:ahLst/>
                  <a:cxnLst>
                    <a:cxn ang="0">
                      <a:pos x="connsiteX0" y="connsiteY0"/>
                    </a:cxn>
                    <a:cxn ang="0">
                      <a:pos x="connsiteX1" y="connsiteY1"/>
                    </a:cxn>
                    <a:cxn ang="0">
                      <a:pos x="connsiteX2" y="connsiteY2"/>
                    </a:cxn>
                    <a:cxn ang="0">
                      <a:pos x="connsiteX3" y="connsiteY3"/>
                    </a:cxn>
                  </a:cxnLst>
                  <a:rect l="l" t="t" r="r" b="b"/>
                  <a:pathLst>
                    <a:path w="739136" h="339853">
                      <a:moveTo>
                        <a:pt x="0" y="97538"/>
                      </a:moveTo>
                      <a:lnTo>
                        <a:pt x="0" y="339854"/>
                      </a:lnTo>
                      <a:lnTo>
                        <a:pt x="739136" y="330710"/>
                      </a:lnTo>
                      <a:lnTo>
                        <a:pt x="739136"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2" name="Graphic 2">
                  <a:extLst>
                    <a:ext uri="{FF2B5EF4-FFF2-40B4-BE49-F238E27FC236}">
                      <a16:creationId xmlns:a16="http://schemas.microsoft.com/office/drawing/2014/main" id="{4C8F512A-3BDF-484C-A3E6-64CBEF930519}"/>
                    </a:ext>
                  </a:extLst>
                </p:cNvPr>
                <p:cNvSpPr/>
                <p:nvPr/>
              </p:nvSpPr>
              <p:spPr>
                <a:xfrm>
                  <a:off x="7991719" y="4959696"/>
                  <a:ext cx="36994" cy="43493"/>
                </a:xfrm>
                <a:custGeom>
                  <a:avLst/>
                  <a:gdLst>
                    <a:gd name="connsiteX0" fmla="*/ 676654 w 676656"/>
                    <a:gd name="connsiteY0" fmla="*/ 397765 h 795528"/>
                    <a:gd name="connsiteX1" fmla="*/ 338326 w 676656"/>
                    <a:gd name="connsiteY1" fmla="*/ 795527 h 795528"/>
                    <a:gd name="connsiteX2" fmla="*/ -2 w 676656"/>
                    <a:gd name="connsiteY2" fmla="*/ 397765 h 795528"/>
                    <a:gd name="connsiteX3" fmla="*/ 338326 w 676656"/>
                    <a:gd name="connsiteY3" fmla="*/ 3 h 795528"/>
                    <a:gd name="connsiteX4" fmla="*/ 676654 w 676656"/>
                    <a:gd name="connsiteY4" fmla="*/ 397765 h 795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656" h="795528">
                      <a:moveTo>
                        <a:pt x="676654" y="397765"/>
                      </a:moveTo>
                      <a:cubicBezTo>
                        <a:pt x="676654" y="617445"/>
                        <a:pt x="525180" y="795527"/>
                        <a:pt x="338326" y="795527"/>
                      </a:cubicBezTo>
                      <a:cubicBezTo>
                        <a:pt x="151472" y="795527"/>
                        <a:pt x="-2" y="617440"/>
                        <a:pt x="-2" y="397765"/>
                      </a:cubicBezTo>
                      <a:cubicBezTo>
                        <a:pt x="-2" y="178085"/>
                        <a:pt x="151472" y="3"/>
                        <a:pt x="338326" y="3"/>
                      </a:cubicBezTo>
                      <a:cubicBezTo>
                        <a:pt x="525180" y="3"/>
                        <a:pt x="676654" y="178090"/>
                        <a:pt x="676654" y="397765"/>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3" name="Graphic 2">
                  <a:extLst>
                    <a:ext uri="{FF2B5EF4-FFF2-40B4-BE49-F238E27FC236}">
                      <a16:creationId xmlns:a16="http://schemas.microsoft.com/office/drawing/2014/main" id="{A8030BC8-8857-4A7B-8E90-9AE769F5FD20}"/>
                    </a:ext>
                  </a:extLst>
                </p:cNvPr>
                <p:cNvSpPr/>
                <p:nvPr/>
              </p:nvSpPr>
              <p:spPr>
                <a:xfrm>
                  <a:off x="7998301" y="4962362"/>
                  <a:ext cx="31828" cy="37328"/>
                </a:xfrm>
                <a:custGeom>
                  <a:avLst/>
                  <a:gdLst>
                    <a:gd name="connsiteX0" fmla="*/ 582168 w 582168"/>
                    <a:gd name="connsiteY0" fmla="*/ 341374 h 682752"/>
                    <a:gd name="connsiteX1" fmla="*/ 291083 w 582168"/>
                    <a:gd name="connsiteY1" fmla="*/ 682749 h 682752"/>
                    <a:gd name="connsiteX2" fmla="*/ -1 w 582168"/>
                    <a:gd name="connsiteY2" fmla="*/ 341374 h 682752"/>
                    <a:gd name="connsiteX3" fmla="*/ 291083 w 582168"/>
                    <a:gd name="connsiteY3" fmla="*/ 0 h 682752"/>
                    <a:gd name="connsiteX4" fmla="*/ 582168 w 582168"/>
                    <a:gd name="connsiteY4" fmla="*/ 341374 h 682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168" h="682752">
                      <a:moveTo>
                        <a:pt x="582168" y="341374"/>
                      </a:moveTo>
                      <a:cubicBezTo>
                        <a:pt x="582168" y="529912"/>
                        <a:pt x="451846" y="682749"/>
                        <a:pt x="291083" y="682749"/>
                      </a:cubicBezTo>
                      <a:cubicBezTo>
                        <a:pt x="130321" y="682749"/>
                        <a:pt x="-1" y="529912"/>
                        <a:pt x="-1" y="341374"/>
                      </a:cubicBezTo>
                      <a:cubicBezTo>
                        <a:pt x="-1" y="152837"/>
                        <a:pt x="130321" y="0"/>
                        <a:pt x="291083" y="0"/>
                      </a:cubicBezTo>
                      <a:cubicBezTo>
                        <a:pt x="451846" y="0"/>
                        <a:pt x="582168" y="152837"/>
                        <a:pt x="582168" y="341374"/>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4" name="Graphic 2">
                  <a:extLst>
                    <a:ext uri="{FF2B5EF4-FFF2-40B4-BE49-F238E27FC236}">
                      <a16:creationId xmlns:a16="http://schemas.microsoft.com/office/drawing/2014/main" id="{857DD247-5182-44BC-BEF0-A5FAF266ECA5}"/>
                    </a:ext>
                  </a:extLst>
                </p:cNvPr>
                <p:cNvSpPr/>
                <p:nvPr/>
              </p:nvSpPr>
              <p:spPr>
                <a:xfrm>
                  <a:off x="8029545" y="4953863"/>
                  <a:ext cx="43992" cy="51659"/>
                </a:xfrm>
                <a:custGeom>
                  <a:avLst/>
                  <a:gdLst>
                    <a:gd name="connsiteX0" fmla="*/ 804671 w 804671"/>
                    <a:gd name="connsiteY0" fmla="*/ 472442 h 944880"/>
                    <a:gd name="connsiteX1" fmla="*/ 402332 w 804671"/>
                    <a:gd name="connsiteY1" fmla="*/ 944883 h 944880"/>
                    <a:gd name="connsiteX2" fmla="*/ -6 w 804671"/>
                    <a:gd name="connsiteY2" fmla="*/ 472442 h 944880"/>
                    <a:gd name="connsiteX3" fmla="*/ 402332 w 804671"/>
                    <a:gd name="connsiteY3" fmla="*/ 1 h 944880"/>
                    <a:gd name="connsiteX4" fmla="*/ 804671 w 804671"/>
                    <a:gd name="connsiteY4" fmla="*/ 472442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4671" h="944880">
                      <a:moveTo>
                        <a:pt x="804671" y="472442"/>
                      </a:moveTo>
                      <a:cubicBezTo>
                        <a:pt x="804671" y="733366"/>
                        <a:pt x="624538" y="944883"/>
                        <a:pt x="402332" y="944883"/>
                      </a:cubicBezTo>
                      <a:cubicBezTo>
                        <a:pt x="180127" y="944883"/>
                        <a:pt x="-6" y="733366"/>
                        <a:pt x="-6" y="472442"/>
                      </a:cubicBezTo>
                      <a:cubicBezTo>
                        <a:pt x="-6" y="211519"/>
                        <a:pt x="180127" y="1"/>
                        <a:pt x="402332" y="1"/>
                      </a:cubicBezTo>
                      <a:cubicBezTo>
                        <a:pt x="624538" y="1"/>
                        <a:pt x="804671" y="211519"/>
                        <a:pt x="804671" y="472442"/>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5" name="Graphic 2">
                  <a:extLst>
                    <a:ext uri="{FF2B5EF4-FFF2-40B4-BE49-F238E27FC236}">
                      <a16:creationId xmlns:a16="http://schemas.microsoft.com/office/drawing/2014/main" id="{F50CA9FB-7303-4F4D-BE2F-FE95A94157F1}"/>
                    </a:ext>
                  </a:extLst>
                </p:cNvPr>
                <p:cNvSpPr/>
                <p:nvPr/>
              </p:nvSpPr>
              <p:spPr>
                <a:xfrm>
                  <a:off x="8037461" y="4956946"/>
                  <a:ext cx="37827" cy="44327"/>
                </a:xfrm>
                <a:custGeom>
                  <a:avLst/>
                  <a:gdLst>
                    <a:gd name="connsiteX0" fmla="*/ 691898 w 691895"/>
                    <a:gd name="connsiteY0" fmla="*/ 405385 h 810768"/>
                    <a:gd name="connsiteX1" fmla="*/ 345952 w 691895"/>
                    <a:gd name="connsiteY1" fmla="*/ 810770 h 810768"/>
                    <a:gd name="connsiteX2" fmla="*/ 5 w 691895"/>
                    <a:gd name="connsiteY2" fmla="*/ 405385 h 810768"/>
                    <a:gd name="connsiteX3" fmla="*/ 345952 w 691895"/>
                    <a:gd name="connsiteY3" fmla="*/ 1 h 810768"/>
                    <a:gd name="connsiteX4" fmla="*/ 691898 w 691895"/>
                    <a:gd name="connsiteY4" fmla="*/ 405385 h 810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895" h="810768">
                      <a:moveTo>
                        <a:pt x="691898" y="405385"/>
                      </a:moveTo>
                      <a:cubicBezTo>
                        <a:pt x="691898" y="629274"/>
                        <a:pt x="537010" y="810770"/>
                        <a:pt x="345952" y="810770"/>
                      </a:cubicBezTo>
                      <a:cubicBezTo>
                        <a:pt x="154889" y="810770"/>
                        <a:pt x="5" y="629274"/>
                        <a:pt x="5" y="405385"/>
                      </a:cubicBezTo>
                      <a:cubicBezTo>
                        <a:pt x="5" y="181496"/>
                        <a:pt x="154894" y="1"/>
                        <a:pt x="345952" y="1"/>
                      </a:cubicBezTo>
                      <a:cubicBezTo>
                        <a:pt x="537015" y="1"/>
                        <a:pt x="691898" y="181496"/>
                        <a:pt x="691898" y="405385"/>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6" name="Graphic 2">
                  <a:extLst>
                    <a:ext uri="{FF2B5EF4-FFF2-40B4-BE49-F238E27FC236}">
                      <a16:creationId xmlns:a16="http://schemas.microsoft.com/office/drawing/2014/main" id="{77C80813-E8ED-49E6-88D9-585B78057221}"/>
                    </a:ext>
                  </a:extLst>
                </p:cNvPr>
                <p:cNvSpPr/>
                <p:nvPr/>
              </p:nvSpPr>
              <p:spPr>
                <a:xfrm>
                  <a:off x="7767253" y="4691722"/>
                  <a:ext cx="107239" cy="85085"/>
                </a:xfrm>
                <a:custGeom>
                  <a:avLst/>
                  <a:gdLst>
                    <a:gd name="connsiteX0" fmla="*/ 557848 w 1961526"/>
                    <a:gd name="connsiteY0" fmla="*/ 1556276 h 1556275"/>
                    <a:gd name="connsiteX1" fmla="*/ 167705 w 1961526"/>
                    <a:gd name="connsiteY1" fmla="*/ 1556276 h 1556275"/>
                    <a:gd name="connsiteX2" fmla="*/ 79315 w 1961526"/>
                    <a:gd name="connsiteY2" fmla="*/ 1490745 h 1556275"/>
                    <a:gd name="connsiteX3" fmla="*/ 399356 w 1961526"/>
                    <a:gd name="connsiteY3" fmla="*/ 96286 h 1556275"/>
                    <a:gd name="connsiteX4" fmla="*/ 425261 w 1961526"/>
                    <a:gd name="connsiteY4" fmla="*/ 84093 h 1556275"/>
                    <a:gd name="connsiteX5" fmla="*/ 1950786 w 1961526"/>
                    <a:gd name="connsiteY5" fmla="*/ 512337 h 1556275"/>
                    <a:gd name="connsiteX6" fmla="*/ 1920305 w 1961526"/>
                    <a:gd name="connsiteY6" fmla="*/ 631209 h 1556275"/>
                    <a:gd name="connsiteX7" fmla="*/ 609668 w 1961526"/>
                    <a:gd name="connsiteY7" fmla="*/ 1541037 h 1556275"/>
                    <a:gd name="connsiteX8" fmla="*/ 557848 w 1961526"/>
                    <a:gd name="connsiteY8" fmla="*/ 1556276 h 155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1526" h="1556275">
                      <a:moveTo>
                        <a:pt x="557848" y="1556276"/>
                      </a:moveTo>
                      <a:lnTo>
                        <a:pt x="167705" y="1556276"/>
                      </a:lnTo>
                      <a:cubicBezTo>
                        <a:pt x="126558" y="1556276"/>
                        <a:pt x="89984" y="1530368"/>
                        <a:pt x="79315" y="1490745"/>
                      </a:cubicBezTo>
                      <a:cubicBezTo>
                        <a:pt x="12258" y="1260622"/>
                        <a:pt x="-163001" y="478809"/>
                        <a:pt x="399356" y="96286"/>
                      </a:cubicBezTo>
                      <a:cubicBezTo>
                        <a:pt x="406974" y="90188"/>
                        <a:pt x="416117" y="87140"/>
                        <a:pt x="425261" y="84093"/>
                      </a:cubicBezTo>
                      <a:cubicBezTo>
                        <a:pt x="553276" y="44468"/>
                        <a:pt x="1542356" y="-235948"/>
                        <a:pt x="1950786" y="512337"/>
                      </a:cubicBezTo>
                      <a:cubicBezTo>
                        <a:pt x="1973646" y="553486"/>
                        <a:pt x="1958405" y="605301"/>
                        <a:pt x="1920305" y="631209"/>
                      </a:cubicBezTo>
                      <a:lnTo>
                        <a:pt x="609668" y="1541037"/>
                      </a:lnTo>
                      <a:cubicBezTo>
                        <a:pt x="594427" y="1550181"/>
                        <a:pt x="576140" y="1556276"/>
                        <a:pt x="557848" y="1556276"/>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7" name="Graphic 2">
                  <a:extLst>
                    <a:ext uri="{FF2B5EF4-FFF2-40B4-BE49-F238E27FC236}">
                      <a16:creationId xmlns:a16="http://schemas.microsoft.com/office/drawing/2014/main" id="{01462FC1-A882-4195-A4D7-BE949AD3CB93}"/>
                    </a:ext>
                  </a:extLst>
                </p:cNvPr>
                <p:cNvSpPr/>
                <p:nvPr/>
              </p:nvSpPr>
              <p:spPr>
                <a:xfrm>
                  <a:off x="7855992" y="4710151"/>
                  <a:ext cx="318629" cy="200719"/>
                </a:xfrm>
                <a:custGeom>
                  <a:avLst/>
                  <a:gdLst>
                    <a:gd name="connsiteX0" fmla="*/ 4632959 w 5828083"/>
                    <a:gd name="connsiteY0" fmla="*/ 32005 h 3671317"/>
                    <a:gd name="connsiteX1" fmla="*/ 0 w 5828083"/>
                    <a:gd name="connsiteY1" fmla="*/ 0 h 3671317"/>
                    <a:gd name="connsiteX2" fmla="*/ 27431 w 5828083"/>
                    <a:gd name="connsiteY2" fmla="*/ 3671318 h 3671317"/>
                    <a:gd name="connsiteX3" fmla="*/ 4803647 w 5828083"/>
                    <a:gd name="connsiteY3" fmla="*/ 3451862 h 3671317"/>
                    <a:gd name="connsiteX4" fmla="*/ 5824728 w 5828083"/>
                    <a:gd name="connsiteY4" fmla="*/ 1687069 h 3671317"/>
                    <a:gd name="connsiteX5" fmla="*/ 4632959 w 5828083"/>
                    <a:gd name="connsiteY5" fmla="*/ 32005 h 367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28083" h="3671317">
                      <a:moveTo>
                        <a:pt x="4632959" y="32005"/>
                      </a:moveTo>
                      <a:lnTo>
                        <a:pt x="0" y="0"/>
                      </a:lnTo>
                      <a:lnTo>
                        <a:pt x="27431" y="3671318"/>
                      </a:lnTo>
                      <a:lnTo>
                        <a:pt x="4803647" y="3451862"/>
                      </a:lnTo>
                      <a:cubicBezTo>
                        <a:pt x="5414772" y="3421380"/>
                        <a:pt x="5871972" y="2630426"/>
                        <a:pt x="5824728" y="1687069"/>
                      </a:cubicBezTo>
                      <a:cubicBezTo>
                        <a:pt x="5777485" y="743713"/>
                        <a:pt x="5244085" y="1525"/>
                        <a:pt x="4632959" y="32005"/>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8" name="Graphic 2">
                  <a:extLst>
                    <a:ext uri="{FF2B5EF4-FFF2-40B4-BE49-F238E27FC236}">
                      <a16:creationId xmlns:a16="http://schemas.microsoft.com/office/drawing/2014/main" id="{209ECE8D-B10A-4A85-9E28-BFA39CB878AA}"/>
                    </a:ext>
                  </a:extLst>
                </p:cNvPr>
                <p:cNvSpPr/>
                <p:nvPr/>
              </p:nvSpPr>
              <p:spPr>
                <a:xfrm>
                  <a:off x="7787337" y="4709401"/>
                  <a:ext cx="128978" cy="202802"/>
                </a:xfrm>
                <a:custGeom>
                  <a:avLst/>
                  <a:gdLst>
                    <a:gd name="connsiteX0" fmla="*/ 2359152 w 2359152"/>
                    <a:gd name="connsiteY0" fmla="*/ 1854707 h 3709416"/>
                    <a:gd name="connsiteX1" fmla="*/ 1179577 w 2359152"/>
                    <a:gd name="connsiteY1" fmla="*/ 3709417 h 3709416"/>
                    <a:gd name="connsiteX2" fmla="*/ 2 w 2359152"/>
                    <a:gd name="connsiteY2" fmla="*/ 1854710 h 3709416"/>
                    <a:gd name="connsiteX3" fmla="*/ 1179577 w 2359152"/>
                    <a:gd name="connsiteY3" fmla="*/ 2 h 3709416"/>
                    <a:gd name="connsiteX4" fmla="*/ 2359152 w 2359152"/>
                    <a:gd name="connsiteY4" fmla="*/ 1854707 h 37094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9152" h="3709416">
                      <a:moveTo>
                        <a:pt x="2359152" y="1854707"/>
                      </a:moveTo>
                      <a:cubicBezTo>
                        <a:pt x="2359152" y="2879033"/>
                        <a:pt x="1831040" y="3709417"/>
                        <a:pt x="1179577" y="3709417"/>
                      </a:cubicBezTo>
                      <a:cubicBezTo>
                        <a:pt x="528114" y="3709417"/>
                        <a:pt x="2" y="2879036"/>
                        <a:pt x="2" y="1854710"/>
                      </a:cubicBezTo>
                      <a:cubicBezTo>
                        <a:pt x="2" y="830384"/>
                        <a:pt x="528114" y="2"/>
                        <a:pt x="1179577" y="2"/>
                      </a:cubicBezTo>
                      <a:cubicBezTo>
                        <a:pt x="1831040" y="2"/>
                        <a:pt x="2359152" y="830384"/>
                        <a:pt x="2359152" y="1854707"/>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29" name="Graphic 2">
                  <a:extLst>
                    <a:ext uri="{FF2B5EF4-FFF2-40B4-BE49-F238E27FC236}">
                      <a16:creationId xmlns:a16="http://schemas.microsoft.com/office/drawing/2014/main" id="{8382B10A-C549-45FE-8FC4-186D15040BC7}"/>
                    </a:ext>
                  </a:extLst>
                </p:cNvPr>
                <p:cNvSpPr/>
                <p:nvPr/>
              </p:nvSpPr>
              <p:spPr>
                <a:xfrm>
                  <a:off x="7812749" y="4748395"/>
                  <a:ext cx="79486" cy="124814"/>
                </a:xfrm>
                <a:custGeom>
                  <a:avLst/>
                  <a:gdLst>
                    <a:gd name="connsiteX0" fmla="*/ 1453898 w 1453895"/>
                    <a:gd name="connsiteY0" fmla="*/ 1141475 h 2282952"/>
                    <a:gd name="connsiteX1" fmla="*/ 726952 w 1453895"/>
                    <a:gd name="connsiteY1" fmla="*/ 2282952 h 2282952"/>
                    <a:gd name="connsiteX2" fmla="*/ 5 w 1453895"/>
                    <a:gd name="connsiteY2" fmla="*/ 1141475 h 2282952"/>
                    <a:gd name="connsiteX3" fmla="*/ 726952 w 1453895"/>
                    <a:gd name="connsiteY3" fmla="*/ -2 h 2282952"/>
                    <a:gd name="connsiteX4" fmla="*/ 1453898 w 1453895"/>
                    <a:gd name="connsiteY4" fmla="*/ 1141475 h 2282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3895" h="2282952">
                      <a:moveTo>
                        <a:pt x="1453898" y="1141475"/>
                      </a:moveTo>
                      <a:cubicBezTo>
                        <a:pt x="1453898" y="1771895"/>
                        <a:pt x="1128434" y="2282952"/>
                        <a:pt x="726952" y="2282952"/>
                      </a:cubicBezTo>
                      <a:cubicBezTo>
                        <a:pt x="325469" y="2282952"/>
                        <a:pt x="5" y="1771895"/>
                        <a:pt x="5" y="1141475"/>
                      </a:cubicBezTo>
                      <a:cubicBezTo>
                        <a:pt x="5" y="511056"/>
                        <a:pt x="325469" y="-2"/>
                        <a:pt x="726952" y="-2"/>
                      </a:cubicBezTo>
                      <a:cubicBezTo>
                        <a:pt x="1128434" y="-2"/>
                        <a:pt x="1453898" y="511056"/>
                        <a:pt x="1453898" y="1141475"/>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0" name="Graphic 2">
                  <a:extLst>
                    <a:ext uri="{FF2B5EF4-FFF2-40B4-BE49-F238E27FC236}">
                      <a16:creationId xmlns:a16="http://schemas.microsoft.com/office/drawing/2014/main" id="{5CE9E935-27F9-487B-BC6C-78EB5B95D26C}"/>
                    </a:ext>
                  </a:extLst>
                </p:cNvPr>
                <p:cNvSpPr/>
                <p:nvPr/>
              </p:nvSpPr>
              <p:spPr>
                <a:xfrm>
                  <a:off x="7822331" y="4758393"/>
                  <a:ext cx="66655" cy="104817"/>
                </a:xfrm>
                <a:custGeom>
                  <a:avLst/>
                  <a:gdLst>
                    <a:gd name="connsiteX0" fmla="*/ 1219200 w 1219200"/>
                    <a:gd name="connsiteY0" fmla="*/ 958595 h 1917191"/>
                    <a:gd name="connsiteX1" fmla="*/ 609600 w 1219200"/>
                    <a:gd name="connsiteY1" fmla="*/ 1917190 h 1917191"/>
                    <a:gd name="connsiteX2" fmla="*/ 0 w 1219200"/>
                    <a:gd name="connsiteY2" fmla="*/ 958595 h 1917191"/>
                    <a:gd name="connsiteX3" fmla="*/ 609600 w 1219200"/>
                    <a:gd name="connsiteY3" fmla="*/ 0 h 1917191"/>
                    <a:gd name="connsiteX4" fmla="*/ 1219200 w 1219200"/>
                    <a:gd name="connsiteY4" fmla="*/ 958595 h 1917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917191">
                      <a:moveTo>
                        <a:pt x="1219200" y="958595"/>
                      </a:moveTo>
                      <a:cubicBezTo>
                        <a:pt x="1219200" y="1488014"/>
                        <a:pt x="946272" y="1917190"/>
                        <a:pt x="609600" y="1917190"/>
                      </a:cubicBezTo>
                      <a:cubicBezTo>
                        <a:pt x="272927" y="1917190"/>
                        <a:pt x="0" y="1488012"/>
                        <a:pt x="0" y="958595"/>
                      </a:cubicBezTo>
                      <a:cubicBezTo>
                        <a:pt x="0" y="429176"/>
                        <a:pt x="272927" y="0"/>
                        <a:pt x="609600" y="0"/>
                      </a:cubicBezTo>
                      <a:cubicBezTo>
                        <a:pt x="946272" y="0"/>
                        <a:pt x="1219200" y="429179"/>
                        <a:pt x="1219200" y="958595"/>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1" name="Graphic 2">
                  <a:extLst>
                    <a:ext uri="{FF2B5EF4-FFF2-40B4-BE49-F238E27FC236}">
                      <a16:creationId xmlns:a16="http://schemas.microsoft.com/office/drawing/2014/main" id="{90DB3842-E09B-45C6-8DFD-F66E39BC75FE}"/>
                    </a:ext>
                  </a:extLst>
                </p:cNvPr>
                <p:cNvSpPr/>
                <p:nvPr/>
              </p:nvSpPr>
              <p:spPr>
                <a:xfrm>
                  <a:off x="7803334" y="4821134"/>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4"/>
                        <a:pt x="101728" y="152400"/>
                        <a:pt x="65535" y="152400"/>
                      </a:cubicBezTo>
                      <a:cubicBezTo>
                        <a:pt x="29342" y="152400"/>
                        <a:pt x="4" y="118284"/>
                        <a:pt x="4" y="76200"/>
                      </a:cubicBezTo>
                      <a:cubicBezTo>
                        <a:pt x="4" y="34117"/>
                        <a:pt x="29342" y="0"/>
                        <a:pt x="65535" y="0"/>
                      </a:cubicBezTo>
                      <a:cubicBezTo>
                        <a:pt x="101728" y="0"/>
                        <a:pt x="131066" y="34117"/>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2" name="Graphic 2">
                  <a:extLst>
                    <a:ext uri="{FF2B5EF4-FFF2-40B4-BE49-F238E27FC236}">
                      <a16:creationId xmlns:a16="http://schemas.microsoft.com/office/drawing/2014/main" id="{A7D044F8-7A95-4CB5-8F51-B8FB05D4978F}"/>
                    </a:ext>
                  </a:extLst>
                </p:cNvPr>
                <p:cNvSpPr/>
                <p:nvPr/>
              </p:nvSpPr>
              <p:spPr>
                <a:xfrm>
                  <a:off x="7806583" y="4838298"/>
                  <a:ext cx="7165" cy="8332"/>
                </a:xfrm>
                <a:custGeom>
                  <a:avLst/>
                  <a:gdLst>
                    <a:gd name="connsiteX0" fmla="*/ 131064 w 131064"/>
                    <a:gd name="connsiteY0" fmla="*/ 76200 h 152400"/>
                    <a:gd name="connsiteX1" fmla="*/ 65533 w 131064"/>
                    <a:gd name="connsiteY1" fmla="*/ 152400 h 152400"/>
                    <a:gd name="connsiteX2" fmla="*/ 2 w 131064"/>
                    <a:gd name="connsiteY2" fmla="*/ 76200 h 152400"/>
                    <a:gd name="connsiteX3" fmla="*/ 65533 w 131064"/>
                    <a:gd name="connsiteY3" fmla="*/ 0 h 152400"/>
                    <a:gd name="connsiteX4" fmla="*/ 131064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4" y="76200"/>
                      </a:moveTo>
                      <a:cubicBezTo>
                        <a:pt x="131064" y="118283"/>
                        <a:pt x="101726" y="152400"/>
                        <a:pt x="65533" y="152400"/>
                      </a:cubicBezTo>
                      <a:cubicBezTo>
                        <a:pt x="29340" y="152400"/>
                        <a:pt x="2" y="118283"/>
                        <a:pt x="2" y="76200"/>
                      </a:cubicBezTo>
                      <a:cubicBezTo>
                        <a:pt x="2" y="34116"/>
                        <a:pt x="29340" y="0"/>
                        <a:pt x="65533" y="0"/>
                      </a:cubicBezTo>
                      <a:cubicBezTo>
                        <a:pt x="101726" y="0"/>
                        <a:pt x="131064" y="34116"/>
                        <a:pt x="131064"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3" name="Graphic 2">
                  <a:extLst>
                    <a:ext uri="{FF2B5EF4-FFF2-40B4-BE49-F238E27FC236}">
                      <a16:creationId xmlns:a16="http://schemas.microsoft.com/office/drawing/2014/main" id="{F0CDD849-F55C-46B3-BB76-64D5BF8AB254}"/>
                    </a:ext>
                  </a:extLst>
                </p:cNvPr>
                <p:cNvSpPr/>
                <p:nvPr/>
              </p:nvSpPr>
              <p:spPr>
                <a:xfrm>
                  <a:off x="7813832" y="4855212"/>
                  <a:ext cx="7165" cy="8332"/>
                </a:xfrm>
                <a:custGeom>
                  <a:avLst/>
                  <a:gdLst>
                    <a:gd name="connsiteX0" fmla="*/ 131063 w 131064"/>
                    <a:gd name="connsiteY0" fmla="*/ 76200 h 152400"/>
                    <a:gd name="connsiteX1" fmla="*/ 65532 w 131064"/>
                    <a:gd name="connsiteY1" fmla="*/ 152400 h 152400"/>
                    <a:gd name="connsiteX2" fmla="*/ 1 w 131064"/>
                    <a:gd name="connsiteY2" fmla="*/ 76200 h 152400"/>
                    <a:gd name="connsiteX3" fmla="*/ 65532 w 131064"/>
                    <a:gd name="connsiteY3" fmla="*/ 0 h 152400"/>
                    <a:gd name="connsiteX4" fmla="*/ 131063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0"/>
                      </a:moveTo>
                      <a:cubicBezTo>
                        <a:pt x="131063" y="118283"/>
                        <a:pt x="101725" y="152400"/>
                        <a:pt x="65532" y="152400"/>
                      </a:cubicBezTo>
                      <a:cubicBezTo>
                        <a:pt x="29339" y="152400"/>
                        <a:pt x="1" y="118283"/>
                        <a:pt x="1" y="76200"/>
                      </a:cubicBezTo>
                      <a:cubicBezTo>
                        <a:pt x="1" y="34116"/>
                        <a:pt x="29339" y="0"/>
                        <a:pt x="65532" y="0"/>
                      </a:cubicBezTo>
                      <a:cubicBezTo>
                        <a:pt x="101725" y="0"/>
                        <a:pt x="131063" y="34116"/>
                        <a:pt x="131063"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4" name="Graphic 2">
                  <a:extLst>
                    <a:ext uri="{FF2B5EF4-FFF2-40B4-BE49-F238E27FC236}">
                      <a16:creationId xmlns:a16="http://schemas.microsoft.com/office/drawing/2014/main" id="{11FCFA4F-0359-44F1-B3FC-65FF9F1B2197}"/>
                    </a:ext>
                  </a:extLst>
                </p:cNvPr>
                <p:cNvSpPr/>
                <p:nvPr/>
              </p:nvSpPr>
              <p:spPr>
                <a:xfrm>
                  <a:off x="7824914" y="4866877"/>
                  <a:ext cx="7165" cy="8332"/>
                </a:xfrm>
                <a:custGeom>
                  <a:avLst/>
                  <a:gdLst>
                    <a:gd name="connsiteX0" fmla="*/ 131066 w 131064"/>
                    <a:gd name="connsiteY0" fmla="*/ 76201 h 152400"/>
                    <a:gd name="connsiteX1" fmla="*/ 65535 w 131064"/>
                    <a:gd name="connsiteY1" fmla="*/ 152401 h 152400"/>
                    <a:gd name="connsiteX2" fmla="*/ 4 w 131064"/>
                    <a:gd name="connsiteY2" fmla="*/ 76201 h 152400"/>
                    <a:gd name="connsiteX3" fmla="*/ 65535 w 131064"/>
                    <a:gd name="connsiteY3" fmla="*/ 1 h 152400"/>
                    <a:gd name="connsiteX4" fmla="*/ 131066 w 131064"/>
                    <a:gd name="connsiteY4" fmla="*/ 76201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1"/>
                      </a:moveTo>
                      <a:cubicBezTo>
                        <a:pt x="131066" y="118284"/>
                        <a:pt x="101728" y="152401"/>
                        <a:pt x="65535" y="152401"/>
                      </a:cubicBezTo>
                      <a:cubicBezTo>
                        <a:pt x="29342" y="152401"/>
                        <a:pt x="4" y="118284"/>
                        <a:pt x="4" y="76201"/>
                      </a:cubicBezTo>
                      <a:cubicBezTo>
                        <a:pt x="4" y="34117"/>
                        <a:pt x="29342" y="1"/>
                        <a:pt x="65535" y="1"/>
                      </a:cubicBezTo>
                      <a:cubicBezTo>
                        <a:pt x="101728" y="1"/>
                        <a:pt x="131066" y="34117"/>
                        <a:pt x="131066" y="7620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5" name="Graphic 2">
                  <a:extLst>
                    <a:ext uri="{FF2B5EF4-FFF2-40B4-BE49-F238E27FC236}">
                      <a16:creationId xmlns:a16="http://schemas.microsoft.com/office/drawing/2014/main" id="{2D8ED5B1-729A-499E-B411-584B1118816D}"/>
                    </a:ext>
                  </a:extLst>
                </p:cNvPr>
                <p:cNvSpPr/>
                <p:nvPr/>
              </p:nvSpPr>
              <p:spPr>
                <a:xfrm>
                  <a:off x="7841744" y="4875375"/>
                  <a:ext cx="7165" cy="8332"/>
                </a:xfrm>
                <a:custGeom>
                  <a:avLst/>
                  <a:gdLst>
                    <a:gd name="connsiteX0" fmla="*/ 131064 w 131064"/>
                    <a:gd name="connsiteY0" fmla="*/ 76199 h 152400"/>
                    <a:gd name="connsiteX1" fmla="*/ 65533 w 131064"/>
                    <a:gd name="connsiteY1" fmla="*/ 152399 h 152400"/>
                    <a:gd name="connsiteX2" fmla="*/ 2 w 131064"/>
                    <a:gd name="connsiteY2" fmla="*/ 76199 h 152400"/>
                    <a:gd name="connsiteX3" fmla="*/ 65533 w 131064"/>
                    <a:gd name="connsiteY3" fmla="*/ -1 h 152400"/>
                    <a:gd name="connsiteX4" fmla="*/ 131064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4" y="76199"/>
                      </a:moveTo>
                      <a:cubicBezTo>
                        <a:pt x="131064" y="118283"/>
                        <a:pt x="101726" y="152399"/>
                        <a:pt x="65533" y="152399"/>
                      </a:cubicBezTo>
                      <a:cubicBezTo>
                        <a:pt x="29340" y="152399"/>
                        <a:pt x="2" y="118283"/>
                        <a:pt x="2" y="76199"/>
                      </a:cubicBezTo>
                      <a:cubicBezTo>
                        <a:pt x="2" y="34116"/>
                        <a:pt x="29340" y="-1"/>
                        <a:pt x="65533" y="-1"/>
                      </a:cubicBezTo>
                      <a:cubicBezTo>
                        <a:pt x="101726" y="-1"/>
                        <a:pt x="131064" y="34116"/>
                        <a:pt x="131064"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6" name="Graphic 2">
                  <a:extLst>
                    <a:ext uri="{FF2B5EF4-FFF2-40B4-BE49-F238E27FC236}">
                      <a16:creationId xmlns:a16="http://schemas.microsoft.com/office/drawing/2014/main" id="{499C8AC9-99C2-4BC9-B2C1-BE15A251DE72}"/>
                    </a:ext>
                  </a:extLst>
                </p:cNvPr>
                <p:cNvSpPr/>
                <p:nvPr/>
              </p:nvSpPr>
              <p:spPr>
                <a:xfrm>
                  <a:off x="7863074" y="4872626"/>
                  <a:ext cx="7165" cy="8332"/>
                </a:xfrm>
                <a:custGeom>
                  <a:avLst/>
                  <a:gdLst>
                    <a:gd name="connsiteX0" fmla="*/ 131064 w 131064"/>
                    <a:gd name="connsiteY0" fmla="*/ 76199 h 152400"/>
                    <a:gd name="connsiteX1" fmla="*/ 65533 w 131064"/>
                    <a:gd name="connsiteY1" fmla="*/ 152399 h 152400"/>
                    <a:gd name="connsiteX2" fmla="*/ 2 w 131064"/>
                    <a:gd name="connsiteY2" fmla="*/ 76199 h 152400"/>
                    <a:gd name="connsiteX3" fmla="*/ 65533 w 131064"/>
                    <a:gd name="connsiteY3" fmla="*/ -1 h 152400"/>
                    <a:gd name="connsiteX4" fmla="*/ 131064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4" y="76199"/>
                      </a:moveTo>
                      <a:cubicBezTo>
                        <a:pt x="131064" y="118282"/>
                        <a:pt x="101726" y="152399"/>
                        <a:pt x="65533" y="152399"/>
                      </a:cubicBezTo>
                      <a:cubicBezTo>
                        <a:pt x="29340" y="152399"/>
                        <a:pt x="2" y="118282"/>
                        <a:pt x="2" y="76199"/>
                      </a:cubicBezTo>
                      <a:cubicBezTo>
                        <a:pt x="2" y="34116"/>
                        <a:pt x="29340" y="-1"/>
                        <a:pt x="65533" y="-1"/>
                      </a:cubicBezTo>
                      <a:cubicBezTo>
                        <a:pt x="101726" y="-1"/>
                        <a:pt x="131064" y="34116"/>
                        <a:pt x="131064"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7" name="Graphic 2">
                  <a:extLst>
                    <a:ext uri="{FF2B5EF4-FFF2-40B4-BE49-F238E27FC236}">
                      <a16:creationId xmlns:a16="http://schemas.microsoft.com/office/drawing/2014/main" id="{6C5A5942-9D8E-4EE4-9FAF-D9F8F3EC9119}"/>
                    </a:ext>
                  </a:extLst>
                </p:cNvPr>
                <p:cNvSpPr/>
                <p:nvPr/>
              </p:nvSpPr>
              <p:spPr>
                <a:xfrm>
                  <a:off x="7881737" y="4858461"/>
                  <a:ext cx="7165" cy="8332"/>
                </a:xfrm>
                <a:custGeom>
                  <a:avLst/>
                  <a:gdLst>
                    <a:gd name="connsiteX0" fmla="*/ 131062 w 131064"/>
                    <a:gd name="connsiteY0" fmla="*/ 76199 h 152400"/>
                    <a:gd name="connsiteX1" fmla="*/ 65531 w 131064"/>
                    <a:gd name="connsiteY1" fmla="*/ 152399 h 152400"/>
                    <a:gd name="connsiteX2" fmla="*/ 0 w 131064"/>
                    <a:gd name="connsiteY2" fmla="*/ 76199 h 152400"/>
                    <a:gd name="connsiteX3" fmla="*/ 65531 w 131064"/>
                    <a:gd name="connsiteY3" fmla="*/ -1 h 152400"/>
                    <a:gd name="connsiteX4" fmla="*/ 131062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2" y="76199"/>
                      </a:moveTo>
                      <a:cubicBezTo>
                        <a:pt x="131062" y="118283"/>
                        <a:pt x="101724" y="152399"/>
                        <a:pt x="65531" y="152399"/>
                      </a:cubicBezTo>
                      <a:cubicBezTo>
                        <a:pt x="29338" y="152399"/>
                        <a:pt x="0" y="118283"/>
                        <a:pt x="0" y="76199"/>
                      </a:cubicBezTo>
                      <a:cubicBezTo>
                        <a:pt x="0" y="34116"/>
                        <a:pt x="29338" y="-1"/>
                        <a:pt x="65531" y="-1"/>
                      </a:cubicBezTo>
                      <a:cubicBezTo>
                        <a:pt x="101724" y="-1"/>
                        <a:pt x="131062" y="34116"/>
                        <a:pt x="131062"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8" name="Graphic 2">
                  <a:extLst>
                    <a:ext uri="{FF2B5EF4-FFF2-40B4-BE49-F238E27FC236}">
                      <a16:creationId xmlns:a16="http://schemas.microsoft.com/office/drawing/2014/main" id="{D36AA385-B6B0-4C1F-B420-04DC681CE2DC}"/>
                    </a:ext>
                  </a:extLst>
                </p:cNvPr>
                <p:cNvSpPr/>
                <p:nvPr/>
              </p:nvSpPr>
              <p:spPr>
                <a:xfrm>
                  <a:off x="7891652" y="4838714"/>
                  <a:ext cx="7165" cy="8332"/>
                </a:xfrm>
                <a:custGeom>
                  <a:avLst/>
                  <a:gdLst>
                    <a:gd name="connsiteX0" fmla="*/ 131063 w 131064"/>
                    <a:gd name="connsiteY0" fmla="*/ 76200 h 152400"/>
                    <a:gd name="connsiteX1" fmla="*/ 65532 w 131064"/>
                    <a:gd name="connsiteY1" fmla="*/ 152400 h 152400"/>
                    <a:gd name="connsiteX2" fmla="*/ 1 w 131064"/>
                    <a:gd name="connsiteY2" fmla="*/ 76200 h 152400"/>
                    <a:gd name="connsiteX3" fmla="*/ 65532 w 131064"/>
                    <a:gd name="connsiteY3" fmla="*/ 0 h 152400"/>
                    <a:gd name="connsiteX4" fmla="*/ 131063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0"/>
                      </a:moveTo>
                      <a:cubicBezTo>
                        <a:pt x="131063" y="118284"/>
                        <a:pt x="101725" y="152400"/>
                        <a:pt x="65532" y="152400"/>
                      </a:cubicBezTo>
                      <a:cubicBezTo>
                        <a:pt x="29338" y="152400"/>
                        <a:pt x="1" y="118284"/>
                        <a:pt x="1" y="76200"/>
                      </a:cubicBezTo>
                      <a:cubicBezTo>
                        <a:pt x="1" y="34117"/>
                        <a:pt x="29338" y="0"/>
                        <a:pt x="65532" y="0"/>
                      </a:cubicBezTo>
                      <a:cubicBezTo>
                        <a:pt x="101725" y="0"/>
                        <a:pt x="131063" y="34117"/>
                        <a:pt x="131063"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39" name="Graphic 2">
                  <a:extLst>
                    <a:ext uri="{FF2B5EF4-FFF2-40B4-BE49-F238E27FC236}">
                      <a16:creationId xmlns:a16="http://schemas.microsoft.com/office/drawing/2014/main" id="{345DBAAE-C100-49B7-A67B-BA9A4B9B185C}"/>
                    </a:ext>
                  </a:extLst>
                </p:cNvPr>
                <p:cNvSpPr/>
                <p:nvPr/>
              </p:nvSpPr>
              <p:spPr>
                <a:xfrm>
                  <a:off x="7895735" y="4817468"/>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3"/>
                        <a:pt x="101728" y="152400"/>
                        <a:pt x="65535" y="152400"/>
                      </a:cubicBezTo>
                      <a:cubicBezTo>
                        <a:pt x="29342" y="152400"/>
                        <a:pt x="4" y="118283"/>
                        <a:pt x="4" y="76200"/>
                      </a:cubicBezTo>
                      <a:cubicBezTo>
                        <a:pt x="4" y="34116"/>
                        <a:pt x="29342" y="0"/>
                        <a:pt x="65535" y="0"/>
                      </a:cubicBezTo>
                      <a:cubicBezTo>
                        <a:pt x="101728" y="0"/>
                        <a:pt x="131066" y="34116"/>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0" name="Graphic 2">
                  <a:extLst>
                    <a:ext uri="{FF2B5EF4-FFF2-40B4-BE49-F238E27FC236}">
                      <a16:creationId xmlns:a16="http://schemas.microsoft.com/office/drawing/2014/main" id="{C41143CE-87A6-4CA5-911B-AB5B6857285A}"/>
                    </a:ext>
                  </a:extLst>
                </p:cNvPr>
                <p:cNvSpPr/>
                <p:nvPr/>
              </p:nvSpPr>
              <p:spPr>
                <a:xfrm>
                  <a:off x="7895735" y="4796138"/>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4"/>
                        <a:pt x="101728" y="152400"/>
                        <a:pt x="65535" y="152400"/>
                      </a:cubicBezTo>
                      <a:cubicBezTo>
                        <a:pt x="29342" y="152400"/>
                        <a:pt x="4" y="118284"/>
                        <a:pt x="4" y="76200"/>
                      </a:cubicBezTo>
                      <a:cubicBezTo>
                        <a:pt x="4" y="34117"/>
                        <a:pt x="29342" y="0"/>
                        <a:pt x="65535" y="0"/>
                      </a:cubicBezTo>
                      <a:cubicBezTo>
                        <a:pt x="101728" y="0"/>
                        <a:pt x="131066" y="34117"/>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1" name="Graphic 2">
                  <a:extLst>
                    <a:ext uri="{FF2B5EF4-FFF2-40B4-BE49-F238E27FC236}">
                      <a16:creationId xmlns:a16="http://schemas.microsoft.com/office/drawing/2014/main" id="{FEEB1518-7FB9-4355-B7A9-916D9CAD8F34}"/>
                    </a:ext>
                  </a:extLst>
                </p:cNvPr>
                <p:cNvSpPr/>
                <p:nvPr/>
              </p:nvSpPr>
              <p:spPr>
                <a:xfrm>
                  <a:off x="7892819" y="4774474"/>
                  <a:ext cx="7165" cy="8332"/>
                </a:xfrm>
                <a:custGeom>
                  <a:avLst/>
                  <a:gdLst>
                    <a:gd name="connsiteX0" fmla="*/ 131065 w 131064"/>
                    <a:gd name="connsiteY0" fmla="*/ 76199 h 152400"/>
                    <a:gd name="connsiteX1" fmla="*/ 65534 w 131064"/>
                    <a:gd name="connsiteY1" fmla="*/ 152399 h 152400"/>
                    <a:gd name="connsiteX2" fmla="*/ 3 w 131064"/>
                    <a:gd name="connsiteY2" fmla="*/ 76199 h 152400"/>
                    <a:gd name="connsiteX3" fmla="*/ 65534 w 131064"/>
                    <a:gd name="connsiteY3" fmla="*/ -1 h 152400"/>
                    <a:gd name="connsiteX4" fmla="*/ 131065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5" y="76199"/>
                      </a:moveTo>
                      <a:cubicBezTo>
                        <a:pt x="131065" y="118283"/>
                        <a:pt x="101727" y="152399"/>
                        <a:pt x="65534" y="152399"/>
                      </a:cubicBezTo>
                      <a:cubicBezTo>
                        <a:pt x="29341" y="152399"/>
                        <a:pt x="3" y="118283"/>
                        <a:pt x="3" y="76199"/>
                      </a:cubicBezTo>
                      <a:cubicBezTo>
                        <a:pt x="3" y="34116"/>
                        <a:pt x="29341" y="-1"/>
                        <a:pt x="65534" y="-1"/>
                      </a:cubicBezTo>
                      <a:cubicBezTo>
                        <a:pt x="101727" y="-1"/>
                        <a:pt x="131065" y="34116"/>
                        <a:pt x="131065"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2" name="Graphic 2">
                  <a:extLst>
                    <a:ext uri="{FF2B5EF4-FFF2-40B4-BE49-F238E27FC236}">
                      <a16:creationId xmlns:a16="http://schemas.microsoft.com/office/drawing/2014/main" id="{360FD831-17F3-4AC7-A356-517952F9088B}"/>
                    </a:ext>
                  </a:extLst>
                </p:cNvPr>
                <p:cNvSpPr/>
                <p:nvPr/>
              </p:nvSpPr>
              <p:spPr>
                <a:xfrm>
                  <a:off x="7883237" y="4757060"/>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3"/>
                        <a:pt x="101728" y="152400"/>
                        <a:pt x="65535" y="152400"/>
                      </a:cubicBezTo>
                      <a:cubicBezTo>
                        <a:pt x="29342" y="152400"/>
                        <a:pt x="4" y="118283"/>
                        <a:pt x="4" y="76200"/>
                      </a:cubicBezTo>
                      <a:cubicBezTo>
                        <a:pt x="4" y="34116"/>
                        <a:pt x="29342" y="0"/>
                        <a:pt x="65535" y="0"/>
                      </a:cubicBezTo>
                      <a:cubicBezTo>
                        <a:pt x="101728" y="0"/>
                        <a:pt x="131066" y="34116"/>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3" name="Graphic 2">
                  <a:extLst>
                    <a:ext uri="{FF2B5EF4-FFF2-40B4-BE49-F238E27FC236}">
                      <a16:creationId xmlns:a16="http://schemas.microsoft.com/office/drawing/2014/main" id="{673A0EF0-0A1B-4A5E-AF45-AF3CCB14E4F4}"/>
                    </a:ext>
                  </a:extLst>
                </p:cNvPr>
                <p:cNvSpPr/>
                <p:nvPr/>
              </p:nvSpPr>
              <p:spPr>
                <a:xfrm>
                  <a:off x="7872905" y="4743896"/>
                  <a:ext cx="7165" cy="8332"/>
                </a:xfrm>
                <a:custGeom>
                  <a:avLst/>
                  <a:gdLst>
                    <a:gd name="connsiteX0" fmla="*/ 131063 w 131064"/>
                    <a:gd name="connsiteY0" fmla="*/ 76199 h 152400"/>
                    <a:gd name="connsiteX1" fmla="*/ 65532 w 131064"/>
                    <a:gd name="connsiteY1" fmla="*/ 152399 h 152400"/>
                    <a:gd name="connsiteX2" fmla="*/ 1 w 131064"/>
                    <a:gd name="connsiteY2" fmla="*/ 76199 h 152400"/>
                    <a:gd name="connsiteX3" fmla="*/ 65532 w 131064"/>
                    <a:gd name="connsiteY3" fmla="*/ -1 h 152400"/>
                    <a:gd name="connsiteX4" fmla="*/ 131063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199"/>
                      </a:moveTo>
                      <a:cubicBezTo>
                        <a:pt x="131063" y="118283"/>
                        <a:pt x="101725" y="152399"/>
                        <a:pt x="65532" y="152399"/>
                      </a:cubicBezTo>
                      <a:cubicBezTo>
                        <a:pt x="29338" y="152399"/>
                        <a:pt x="1" y="118283"/>
                        <a:pt x="1" y="76199"/>
                      </a:cubicBezTo>
                      <a:cubicBezTo>
                        <a:pt x="1" y="34116"/>
                        <a:pt x="29338" y="-1"/>
                        <a:pt x="65532" y="-1"/>
                      </a:cubicBezTo>
                      <a:cubicBezTo>
                        <a:pt x="101725" y="-1"/>
                        <a:pt x="131063" y="34116"/>
                        <a:pt x="131063"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4" name="Graphic 2">
                  <a:extLst>
                    <a:ext uri="{FF2B5EF4-FFF2-40B4-BE49-F238E27FC236}">
                      <a16:creationId xmlns:a16="http://schemas.microsoft.com/office/drawing/2014/main" id="{3DE1CC9A-AB3A-4CA7-B413-F61693356D01}"/>
                    </a:ext>
                  </a:extLst>
                </p:cNvPr>
                <p:cNvSpPr/>
                <p:nvPr/>
              </p:nvSpPr>
              <p:spPr>
                <a:xfrm>
                  <a:off x="7855242" y="4736897"/>
                  <a:ext cx="7165" cy="8332"/>
                </a:xfrm>
                <a:custGeom>
                  <a:avLst/>
                  <a:gdLst>
                    <a:gd name="connsiteX0" fmla="*/ 131063 w 131064"/>
                    <a:gd name="connsiteY0" fmla="*/ 76200 h 152400"/>
                    <a:gd name="connsiteX1" fmla="*/ 65532 w 131064"/>
                    <a:gd name="connsiteY1" fmla="*/ 152400 h 152400"/>
                    <a:gd name="connsiteX2" fmla="*/ 1 w 131064"/>
                    <a:gd name="connsiteY2" fmla="*/ 76200 h 152400"/>
                    <a:gd name="connsiteX3" fmla="*/ 65532 w 131064"/>
                    <a:gd name="connsiteY3" fmla="*/ 0 h 152400"/>
                    <a:gd name="connsiteX4" fmla="*/ 131063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0"/>
                      </a:moveTo>
                      <a:cubicBezTo>
                        <a:pt x="131063" y="118283"/>
                        <a:pt x="101726" y="152400"/>
                        <a:pt x="65532" y="152400"/>
                      </a:cubicBezTo>
                      <a:cubicBezTo>
                        <a:pt x="29339" y="152400"/>
                        <a:pt x="1" y="118283"/>
                        <a:pt x="1" y="76200"/>
                      </a:cubicBezTo>
                      <a:cubicBezTo>
                        <a:pt x="1" y="34117"/>
                        <a:pt x="29339" y="0"/>
                        <a:pt x="65532" y="0"/>
                      </a:cubicBezTo>
                      <a:cubicBezTo>
                        <a:pt x="101726" y="0"/>
                        <a:pt x="131063" y="34117"/>
                        <a:pt x="131063"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5" name="Graphic 2">
                  <a:extLst>
                    <a:ext uri="{FF2B5EF4-FFF2-40B4-BE49-F238E27FC236}">
                      <a16:creationId xmlns:a16="http://schemas.microsoft.com/office/drawing/2014/main" id="{D42833EB-541F-4D65-9C7A-98FE1E1022EE}"/>
                    </a:ext>
                  </a:extLst>
                </p:cNvPr>
                <p:cNvSpPr/>
                <p:nvPr/>
              </p:nvSpPr>
              <p:spPr>
                <a:xfrm>
                  <a:off x="7831912" y="4738146"/>
                  <a:ext cx="7165" cy="8332"/>
                </a:xfrm>
                <a:custGeom>
                  <a:avLst/>
                  <a:gdLst>
                    <a:gd name="connsiteX0" fmla="*/ 131065 w 131064"/>
                    <a:gd name="connsiteY0" fmla="*/ 76199 h 152400"/>
                    <a:gd name="connsiteX1" fmla="*/ 65534 w 131064"/>
                    <a:gd name="connsiteY1" fmla="*/ 152399 h 152400"/>
                    <a:gd name="connsiteX2" fmla="*/ 3 w 131064"/>
                    <a:gd name="connsiteY2" fmla="*/ 76199 h 152400"/>
                    <a:gd name="connsiteX3" fmla="*/ 65534 w 131064"/>
                    <a:gd name="connsiteY3" fmla="*/ -1 h 152400"/>
                    <a:gd name="connsiteX4" fmla="*/ 131065 w 131064"/>
                    <a:gd name="connsiteY4" fmla="*/ 76199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5" y="76199"/>
                      </a:moveTo>
                      <a:cubicBezTo>
                        <a:pt x="131065" y="118283"/>
                        <a:pt x="101727" y="152399"/>
                        <a:pt x="65534" y="152399"/>
                      </a:cubicBezTo>
                      <a:cubicBezTo>
                        <a:pt x="29341" y="152399"/>
                        <a:pt x="3" y="118283"/>
                        <a:pt x="3" y="76199"/>
                      </a:cubicBezTo>
                      <a:cubicBezTo>
                        <a:pt x="3" y="34116"/>
                        <a:pt x="29341" y="-1"/>
                        <a:pt x="65534" y="-1"/>
                      </a:cubicBezTo>
                      <a:cubicBezTo>
                        <a:pt x="101727" y="-1"/>
                        <a:pt x="131065" y="34116"/>
                        <a:pt x="131065" y="76199"/>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6" name="Graphic 2">
                  <a:extLst>
                    <a:ext uri="{FF2B5EF4-FFF2-40B4-BE49-F238E27FC236}">
                      <a16:creationId xmlns:a16="http://schemas.microsoft.com/office/drawing/2014/main" id="{6B8E1773-ED6C-490D-93AE-86B1BBAB09CB}"/>
                    </a:ext>
                  </a:extLst>
                </p:cNvPr>
                <p:cNvSpPr/>
                <p:nvPr/>
              </p:nvSpPr>
              <p:spPr>
                <a:xfrm>
                  <a:off x="7815415" y="4753477"/>
                  <a:ext cx="7165" cy="8332"/>
                </a:xfrm>
                <a:custGeom>
                  <a:avLst/>
                  <a:gdLst>
                    <a:gd name="connsiteX0" fmla="*/ 131063 w 131064"/>
                    <a:gd name="connsiteY0" fmla="*/ 76201 h 152400"/>
                    <a:gd name="connsiteX1" fmla="*/ 65533 w 131064"/>
                    <a:gd name="connsiteY1" fmla="*/ 152401 h 152400"/>
                    <a:gd name="connsiteX2" fmla="*/ 2 w 131064"/>
                    <a:gd name="connsiteY2" fmla="*/ 76201 h 152400"/>
                    <a:gd name="connsiteX3" fmla="*/ 65533 w 131064"/>
                    <a:gd name="connsiteY3" fmla="*/ 1 h 152400"/>
                    <a:gd name="connsiteX4" fmla="*/ 131063 w 131064"/>
                    <a:gd name="connsiteY4" fmla="*/ 76201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3" y="76201"/>
                      </a:moveTo>
                      <a:cubicBezTo>
                        <a:pt x="131063" y="118284"/>
                        <a:pt x="101726" y="152401"/>
                        <a:pt x="65533" y="152401"/>
                      </a:cubicBezTo>
                      <a:cubicBezTo>
                        <a:pt x="29339" y="152401"/>
                        <a:pt x="2" y="118284"/>
                        <a:pt x="2" y="76201"/>
                      </a:cubicBezTo>
                      <a:cubicBezTo>
                        <a:pt x="2" y="34117"/>
                        <a:pt x="29339" y="1"/>
                        <a:pt x="65533" y="1"/>
                      </a:cubicBezTo>
                      <a:cubicBezTo>
                        <a:pt x="101726" y="1"/>
                        <a:pt x="131063" y="34117"/>
                        <a:pt x="131063" y="7620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7" name="Graphic 2">
                  <a:extLst>
                    <a:ext uri="{FF2B5EF4-FFF2-40B4-BE49-F238E27FC236}">
                      <a16:creationId xmlns:a16="http://schemas.microsoft.com/office/drawing/2014/main" id="{F539B2DD-83EC-490C-AD64-17B8EA96B123}"/>
                    </a:ext>
                  </a:extLst>
                </p:cNvPr>
                <p:cNvSpPr/>
                <p:nvPr/>
              </p:nvSpPr>
              <p:spPr>
                <a:xfrm>
                  <a:off x="7805167" y="4774058"/>
                  <a:ext cx="7165" cy="8332"/>
                </a:xfrm>
                <a:custGeom>
                  <a:avLst/>
                  <a:gdLst>
                    <a:gd name="connsiteX0" fmla="*/ 131062 w 131064"/>
                    <a:gd name="connsiteY0" fmla="*/ 76201 h 152400"/>
                    <a:gd name="connsiteX1" fmla="*/ 65531 w 131064"/>
                    <a:gd name="connsiteY1" fmla="*/ 152401 h 152400"/>
                    <a:gd name="connsiteX2" fmla="*/ 0 w 131064"/>
                    <a:gd name="connsiteY2" fmla="*/ 76201 h 152400"/>
                    <a:gd name="connsiteX3" fmla="*/ 65531 w 131064"/>
                    <a:gd name="connsiteY3" fmla="*/ 1 h 152400"/>
                    <a:gd name="connsiteX4" fmla="*/ 131062 w 131064"/>
                    <a:gd name="connsiteY4" fmla="*/ 76201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2" y="76201"/>
                      </a:moveTo>
                      <a:cubicBezTo>
                        <a:pt x="131062" y="118285"/>
                        <a:pt x="101724" y="152401"/>
                        <a:pt x="65531" y="152401"/>
                      </a:cubicBezTo>
                      <a:cubicBezTo>
                        <a:pt x="29338" y="152401"/>
                        <a:pt x="0" y="118285"/>
                        <a:pt x="0" y="76201"/>
                      </a:cubicBezTo>
                      <a:cubicBezTo>
                        <a:pt x="0" y="34118"/>
                        <a:pt x="29338" y="1"/>
                        <a:pt x="65531" y="1"/>
                      </a:cubicBezTo>
                      <a:cubicBezTo>
                        <a:pt x="101724" y="1"/>
                        <a:pt x="131062" y="34118"/>
                        <a:pt x="131062" y="7620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8" name="Graphic 2">
                  <a:extLst>
                    <a:ext uri="{FF2B5EF4-FFF2-40B4-BE49-F238E27FC236}">
                      <a16:creationId xmlns:a16="http://schemas.microsoft.com/office/drawing/2014/main" id="{DD5E7CC6-D41C-48CC-820E-C64E28E02325}"/>
                    </a:ext>
                  </a:extLst>
                </p:cNvPr>
                <p:cNvSpPr/>
                <p:nvPr/>
              </p:nvSpPr>
              <p:spPr>
                <a:xfrm>
                  <a:off x="7801501" y="4799637"/>
                  <a:ext cx="7165" cy="8332"/>
                </a:xfrm>
                <a:custGeom>
                  <a:avLst/>
                  <a:gdLst>
                    <a:gd name="connsiteX0" fmla="*/ 131066 w 131064"/>
                    <a:gd name="connsiteY0" fmla="*/ 76200 h 152400"/>
                    <a:gd name="connsiteX1" fmla="*/ 65535 w 131064"/>
                    <a:gd name="connsiteY1" fmla="*/ 152400 h 152400"/>
                    <a:gd name="connsiteX2" fmla="*/ 4 w 131064"/>
                    <a:gd name="connsiteY2" fmla="*/ 76200 h 152400"/>
                    <a:gd name="connsiteX3" fmla="*/ 65535 w 131064"/>
                    <a:gd name="connsiteY3" fmla="*/ 0 h 152400"/>
                    <a:gd name="connsiteX4" fmla="*/ 131066 w 131064"/>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64" h="152400">
                      <a:moveTo>
                        <a:pt x="131066" y="76200"/>
                      </a:moveTo>
                      <a:cubicBezTo>
                        <a:pt x="131066" y="118283"/>
                        <a:pt x="101728" y="152400"/>
                        <a:pt x="65535" y="152400"/>
                      </a:cubicBezTo>
                      <a:cubicBezTo>
                        <a:pt x="29342" y="152400"/>
                        <a:pt x="4" y="118283"/>
                        <a:pt x="4" y="76200"/>
                      </a:cubicBezTo>
                      <a:cubicBezTo>
                        <a:pt x="4" y="34116"/>
                        <a:pt x="29342" y="0"/>
                        <a:pt x="65535" y="0"/>
                      </a:cubicBezTo>
                      <a:cubicBezTo>
                        <a:pt x="101728" y="0"/>
                        <a:pt x="131066" y="34116"/>
                        <a:pt x="131066" y="7620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49" name="Graphic 2">
                  <a:extLst>
                    <a:ext uri="{FF2B5EF4-FFF2-40B4-BE49-F238E27FC236}">
                      <a16:creationId xmlns:a16="http://schemas.microsoft.com/office/drawing/2014/main" id="{EA6653B6-E433-413A-957F-24FDBE32C6B9}"/>
                    </a:ext>
                  </a:extLst>
                </p:cNvPr>
                <p:cNvSpPr/>
                <p:nvPr/>
              </p:nvSpPr>
              <p:spPr>
                <a:xfrm>
                  <a:off x="7792502" y="4826216"/>
                  <a:ext cx="7999" cy="9165"/>
                </a:xfrm>
                <a:custGeom>
                  <a:avLst/>
                  <a:gdLst>
                    <a:gd name="connsiteX0" fmla="*/ 146304 w 146304"/>
                    <a:gd name="connsiteY0" fmla="*/ 83821 h 167640"/>
                    <a:gd name="connsiteX1" fmla="*/ 73151 w 146304"/>
                    <a:gd name="connsiteY1" fmla="*/ 167641 h 167640"/>
                    <a:gd name="connsiteX2" fmla="*/ -3 w 146304"/>
                    <a:gd name="connsiteY2" fmla="*/ 83821 h 167640"/>
                    <a:gd name="connsiteX3" fmla="*/ 73151 w 146304"/>
                    <a:gd name="connsiteY3" fmla="*/ 0 h 167640"/>
                    <a:gd name="connsiteX4" fmla="*/ 146304 w 146304"/>
                    <a:gd name="connsiteY4" fmla="*/ 83821 h 16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 h="167640">
                      <a:moveTo>
                        <a:pt x="146304" y="83821"/>
                      </a:moveTo>
                      <a:cubicBezTo>
                        <a:pt x="146304" y="130113"/>
                        <a:pt x="113553" y="167641"/>
                        <a:pt x="73151" y="167641"/>
                      </a:cubicBezTo>
                      <a:cubicBezTo>
                        <a:pt x="32749" y="167641"/>
                        <a:pt x="-3" y="130113"/>
                        <a:pt x="-3" y="83821"/>
                      </a:cubicBezTo>
                      <a:cubicBezTo>
                        <a:pt x="-3" y="37528"/>
                        <a:pt x="32749" y="0"/>
                        <a:pt x="73151" y="0"/>
                      </a:cubicBezTo>
                      <a:cubicBezTo>
                        <a:pt x="113553" y="0"/>
                        <a:pt x="146304" y="37528"/>
                        <a:pt x="146304" y="8382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0" name="Graphic 2">
                  <a:extLst>
                    <a:ext uri="{FF2B5EF4-FFF2-40B4-BE49-F238E27FC236}">
                      <a16:creationId xmlns:a16="http://schemas.microsoft.com/office/drawing/2014/main" id="{35EF4C97-67A6-4CF1-896A-0C8A86DF0704}"/>
                    </a:ext>
                  </a:extLst>
                </p:cNvPr>
                <p:cNvSpPr/>
                <p:nvPr/>
              </p:nvSpPr>
              <p:spPr>
                <a:xfrm>
                  <a:off x="7796335" y="4844047"/>
                  <a:ext cx="7999" cy="9165"/>
                </a:xfrm>
                <a:custGeom>
                  <a:avLst/>
                  <a:gdLst>
                    <a:gd name="connsiteX0" fmla="*/ 146303 w 146304"/>
                    <a:gd name="connsiteY0" fmla="*/ 83821 h 167640"/>
                    <a:gd name="connsiteX1" fmla="*/ 73149 w 146304"/>
                    <a:gd name="connsiteY1" fmla="*/ 167641 h 167640"/>
                    <a:gd name="connsiteX2" fmla="*/ -4 w 146304"/>
                    <a:gd name="connsiteY2" fmla="*/ 83821 h 167640"/>
                    <a:gd name="connsiteX3" fmla="*/ 73149 w 146304"/>
                    <a:gd name="connsiteY3" fmla="*/ 0 h 167640"/>
                    <a:gd name="connsiteX4" fmla="*/ 146303 w 146304"/>
                    <a:gd name="connsiteY4" fmla="*/ 83821 h 16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 h="167640">
                      <a:moveTo>
                        <a:pt x="146303" y="83821"/>
                      </a:moveTo>
                      <a:cubicBezTo>
                        <a:pt x="146303" y="130113"/>
                        <a:pt x="113552" y="167641"/>
                        <a:pt x="73149" y="167641"/>
                      </a:cubicBezTo>
                      <a:cubicBezTo>
                        <a:pt x="32747" y="167641"/>
                        <a:pt x="-4" y="130113"/>
                        <a:pt x="-4" y="83821"/>
                      </a:cubicBezTo>
                      <a:cubicBezTo>
                        <a:pt x="-4" y="37528"/>
                        <a:pt x="32747" y="0"/>
                        <a:pt x="73149" y="0"/>
                      </a:cubicBezTo>
                      <a:cubicBezTo>
                        <a:pt x="113552" y="0"/>
                        <a:pt x="146303" y="37528"/>
                        <a:pt x="146303" y="83821"/>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1" name="Graphic 2">
                  <a:extLst>
                    <a:ext uri="{FF2B5EF4-FFF2-40B4-BE49-F238E27FC236}">
                      <a16:creationId xmlns:a16="http://schemas.microsoft.com/office/drawing/2014/main" id="{FBF0F3B4-C4B0-422F-8719-0EAD09C248BB}"/>
                    </a:ext>
                  </a:extLst>
                </p:cNvPr>
                <p:cNvSpPr/>
                <p:nvPr/>
              </p:nvSpPr>
              <p:spPr>
                <a:xfrm>
                  <a:off x="7805084" y="4864627"/>
                  <a:ext cx="7832" cy="8999"/>
                </a:xfrm>
                <a:custGeom>
                  <a:avLst/>
                  <a:gdLst>
                    <a:gd name="connsiteX0" fmla="*/ 143255 w 143256"/>
                    <a:gd name="connsiteY0" fmla="*/ 82295 h 164591"/>
                    <a:gd name="connsiteX1" fmla="*/ 71627 w 143256"/>
                    <a:gd name="connsiteY1" fmla="*/ 164590 h 164591"/>
                    <a:gd name="connsiteX2" fmla="*/ -1 w 143256"/>
                    <a:gd name="connsiteY2" fmla="*/ 82295 h 164591"/>
                    <a:gd name="connsiteX3" fmla="*/ 71627 w 143256"/>
                    <a:gd name="connsiteY3" fmla="*/ 0 h 164591"/>
                    <a:gd name="connsiteX4" fmla="*/ 143255 w 143256"/>
                    <a:gd name="connsiteY4" fmla="*/ 82295 h 164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56" h="164591">
                      <a:moveTo>
                        <a:pt x="143255" y="82295"/>
                      </a:moveTo>
                      <a:cubicBezTo>
                        <a:pt x="143255" y="127746"/>
                        <a:pt x="111187" y="164590"/>
                        <a:pt x="71627" y="164590"/>
                      </a:cubicBezTo>
                      <a:cubicBezTo>
                        <a:pt x="32066" y="164590"/>
                        <a:pt x="-1" y="127746"/>
                        <a:pt x="-1" y="82295"/>
                      </a:cubicBezTo>
                      <a:cubicBezTo>
                        <a:pt x="-1" y="36845"/>
                        <a:pt x="32066" y="0"/>
                        <a:pt x="71627" y="0"/>
                      </a:cubicBezTo>
                      <a:cubicBezTo>
                        <a:pt x="111187" y="0"/>
                        <a:pt x="143255" y="36845"/>
                        <a:pt x="143255" y="8229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2" name="Graphic 2">
                  <a:extLst>
                    <a:ext uri="{FF2B5EF4-FFF2-40B4-BE49-F238E27FC236}">
                      <a16:creationId xmlns:a16="http://schemas.microsoft.com/office/drawing/2014/main" id="{38F8C8A2-8376-4296-AF06-06B881A7BFCF}"/>
                    </a:ext>
                  </a:extLst>
                </p:cNvPr>
                <p:cNvSpPr/>
                <p:nvPr/>
              </p:nvSpPr>
              <p:spPr>
                <a:xfrm>
                  <a:off x="7819414" y="4880625"/>
                  <a:ext cx="8499" cy="9832"/>
                </a:xfrm>
                <a:custGeom>
                  <a:avLst/>
                  <a:gdLst>
                    <a:gd name="connsiteX0" fmla="*/ 155450 w 155447"/>
                    <a:gd name="connsiteY0" fmla="*/ 89915 h 179832"/>
                    <a:gd name="connsiteX1" fmla="*/ 77724 w 155447"/>
                    <a:gd name="connsiteY1" fmla="*/ 179831 h 179832"/>
                    <a:gd name="connsiteX2" fmla="*/ -1 w 155447"/>
                    <a:gd name="connsiteY2" fmla="*/ 89915 h 179832"/>
                    <a:gd name="connsiteX3" fmla="*/ 77724 w 155447"/>
                    <a:gd name="connsiteY3" fmla="*/ 0 h 179832"/>
                    <a:gd name="connsiteX4" fmla="*/ 155450 w 155447"/>
                    <a:gd name="connsiteY4" fmla="*/ 89915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50" y="89915"/>
                      </a:moveTo>
                      <a:cubicBezTo>
                        <a:pt x="155450" y="139575"/>
                        <a:pt x="120652" y="179831"/>
                        <a:pt x="77724" y="179831"/>
                      </a:cubicBezTo>
                      <a:cubicBezTo>
                        <a:pt x="34797" y="179831"/>
                        <a:pt x="-1" y="139575"/>
                        <a:pt x="-1" y="89915"/>
                      </a:cubicBezTo>
                      <a:cubicBezTo>
                        <a:pt x="-1" y="40256"/>
                        <a:pt x="34797" y="0"/>
                        <a:pt x="77724" y="0"/>
                      </a:cubicBezTo>
                      <a:cubicBezTo>
                        <a:pt x="120652" y="0"/>
                        <a:pt x="155450" y="40256"/>
                        <a:pt x="155450" y="8991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3" name="Graphic 2">
                  <a:extLst>
                    <a:ext uri="{FF2B5EF4-FFF2-40B4-BE49-F238E27FC236}">
                      <a16:creationId xmlns:a16="http://schemas.microsoft.com/office/drawing/2014/main" id="{86582B1D-8D82-40A0-8F98-4F39E6E3D3AD}"/>
                    </a:ext>
                  </a:extLst>
                </p:cNvPr>
                <p:cNvSpPr/>
                <p:nvPr/>
              </p:nvSpPr>
              <p:spPr>
                <a:xfrm>
                  <a:off x="7839411" y="4890456"/>
                  <a:ext cx="8499" cy="9832"/>
                </a:xfrm>
                <a:custGeom>
                  <a:avLst/>
                  <a:gdLst>
                    <a:gd name="connsiteX0" fmla="*/ 155449 w 155447"/>
                    <a:gd name="connsiteY0" fmla="*/ 89914 h 179831"/>
                    <a:gd name="connsiteX1" fmla="*/ 77723 w 155447"/>
                    <a:gd name="connsiteY1" fmla="*/ 179830 h 179831"/>
                    <a:gd name="connsiteX2" fmla="*/ -2 w 155447"/>
                    <a:gd name="connsiteY2" fmla="*/ 89914 h 179831"/>
                    <a:gd name="connsiteX3" fmla="*/ 77723 w 155447"/>
                    <a:gd name="connsiteY3" fmla="*/ -1 h 179831"/>
                    <a:gd name="connsiteX4" fmla="*/ 155449 w 155447"/>
                    <a:gd name="connsiteY4" fmla="*/ 89914 h 179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1">
                      <a:moveTo>
                        <a:pt x="155449" y="89914"/>
                      </a:moveTo>
                      <a:cubicBezTo>
                        <a:pt x="155449" y="139572"/>
                        <a:pt x="120651" y="179830"/>
                        <a:pt x="77723" y="179830"/>
                      </a:cubicBezTo>
                      <a:cubicBezTo>
                        <a:pt x="34796" y="179830"/>
                        <a:pt x="-2" y="139572"/>
                        <a:pt x="-2" y="89914"/>
                      </a:cubicBezTo>
                      <a:cubicBezTo>
                        <a:pt x="-2" y="40255"/>
                        <a:pt x="34796" y="-1"/>
                        <a:pt x="77723" y="-1"/>
                      </a:cubicBezTo>
                      <a:cubicBezTo>
                        <a:pt x="120651" y="-1"/>
                        <a:pt x="155449" y="40255"/>
                        <a:pt x="155449" y="89914"/>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4" name="Graphic 2">
                  <a:extLst>
                    <a:ext uri="{FF2B5EF4-FFF2-40B4-BE49-F238E27FC236}">
                      <a16:creationId xmlns:a16="http://schemas.microsoft.com/office/drawing/2014/main" id="{285C75D4-DBE2-4233-B90E-89EB76E371DE}"/>
                    </a:ext>
                  </a:extLst>
                </p:cNvPr>
                <p:cNvSpPr/>
                <p:nvPr/>
              </p:nvSpPr>
              <p:spPr>
                <a:xfrm>
                  <a:off x="7864573" y="4887290"/>
                  <a:ext cx="8499" cy="9832"/>
                </a:xfrm>
                <a:custGeom>
                  <a:avLst/>
                  <a:gdLst>
                    <a:gd name="connsiteX0" fmla="*/ 155447 w 155447"/>
                    <a:gd name="connsiteY0" fmla="*/ 89916 h 179831"/>
                    <a:gd name="connsiteX1" fmla="*/ 77722 w 155447"/>
                    <a:gd name="connsiteY1" fmla="*/ 179834 h 179831"/>
                    <a:gd name="connsiteX2" fmla="*/ -4 w 155447"/>
                    <a:gd name="connsiteY2" fmla="*/ 89918 h 179831"/>
                    <a:gd name="connsiteX3" fmla="*/ 77722 w 155447"/>
                    <a:gd name="connsiteY3" fmla="*/ 3 h 179831"/>
                    <a:gd name="connsiteX4" fmla="*/ 155447 w 155447"/>
                    <a:gd name="connsiteY4" fmla="*/ 89916 h 179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1">
                      <a:moveTo>
                        <a:pt x="155447" y="89916"/>
                      </a:moveTo>
                      <a:cubicBezTo>
                        <a:pt x="155447" y="139576"/>
                        <a:pt x="120649" y="179834"/>
                        <a:pt x="77722" y="179834"/>
                      </a:cubicBezTo>
                      <a:cubicBezTo>
                        <a:pt x="34794" y="179834"/>
                        <a:pt x="-4" y="139578"/>
                        <a:pt x="-4" y="89918"/>
                      </a:cubicBezTo>
                      <a:cubicBezTo>
                        <a:pt x="-4" y="40258"/>
                        <a:pt x="34794" y="3"/>
                        <a:pt x="77722" y="3"/>
                      </a:cubicBezTo>
                      <a:cubicBezTo>
                        <a:pt x="120649" y="3"/>
                        <a:pt x="155447" y="40258"/>
                        <a:pt x="155447" y="89916"/>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5" name="Graphic 2">
                  <a:extLst>
                    <a:ext uri="{FF2B5EF4-FFF2-40B4-BE49-F238E27FC236}">
                      <a16:creationId xmlns:a16="http://schemas.microsoft.com/office/drawing/2014/main" id="{CEAA8CA5-C554-49FF-99FB-6216D5C6241C}"/>
                    </a:ext>
                  </a:extLst>
                </p:cNvPr>
                <p:cNvSpPr/>
                <p:nvPr/>
              </p:nvSpPr>
              <p:spPr>
                <a:xfrm>
                  <a:off x="7886736" y="4870876"/>
                  <a:ext cx="8499" cy="9832"/>
                </a:xfrm>
                <a:custGeom>
                  <a:avLst/>
                  <a:gdLst>
                    <a:gd name="connsiteX0" fmla="*/ 155448 w 155447"/>
                    <a:gd name="connsiteY0" fmla="*/ 89916 h 179832"/>
                    <a:gd name="connsiteX1" fmla="*/ 77722 w 155447"/>
                    <a:gd name="connsiteY1" fmla="*/ 179831 h 179832"/>
                    <a:gd name="connsiteX2" fmla="*/ -3 w 155447"/>
                    <a:gd name="connsiteY2" fmla="*/ 89916 h 179832"/>
                    <a:gd name="connsiteX3" fmla="*/ 77722 w 155447"/>
                    <a:gd name="connsiteY3" fmla="*/ 0 h 179832"/>
                    <a:gd name="connsiteX4" fmla="*/ 155448 w 155447"/>
                    <a:gd name="connsiteY4" fmla="*/ 89916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48" y="89916"/>
                      </a:moveTo>
                      <a:cubicBezTo>
                        <a:pt x="155448" y="139575"/>
                        <a:pt x="120650" y="179831"/>
                        <a:pt x="77722" y="179831"/>
                      </a:cubicBezTo>
                      <a:cubicBezTo>
                        <a:pt x="34795" y="179831"/>
                        <a:pt x="-3" y="139575"/>
                        <a:pt x="-3" y="89916"/>
                      </a:cubicBezTo>
                      <a:cubicBezTo>
                        <a:pt x="-3" y="40256"/>
                        <a:pt x="34795" y="0"/>
                        <a:pt x="77722" y="0"/>
                      </a:cubicBezTo>
                      <a:cubicBezTo>
                        <a:pt x="120650" y="0"/>
                        <a:pt x="155448" y="40256"/>
                        <a:pt x="155448" y="89916"/>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6" name="Graphic 2">
                  <a:extLst>
                    <a:ext uri="{FF2B5EF4-FFF2-40B4-BE49-F238E27FC236}">
                      <a16:creationId xmlns:a16="http://schemas.microsoft.com/office/drawing/2014/main" id="{CCBBF392-4540-4C81-A55F-2AED601577F6}"/>
                    </a:ext>
                  </a:extLst>
                </p:cNvPr>
                <p:cNvSpPr/>
                <p:nvPr/>
              </p:nvSpPr>
              <p:spPr>
                <a:xfrm>
                  <a:off x="7898401" y="4847796"/>
                  <a:ext cx="8499" cy="9832"/>
                </a:xfrm>
                <a:custGeom>
                  <a:avLst/>
                  <a:gdLst>
                    <a:gd name="connsiteX0" fmla="*/ 155447 w 155447"/>
                    <a:gd name="connsiteY0" fmla="*/ 89915 h 179832"/>
                    <a:gd name="connsiteX1" fmla="*/ 77721 w 155447"/>
                    <a:gd name="connsiteY1" fmla="*/ 179831 h 179832"/>
                    <a:gd name="connsiteX2" fmla="*/ -4 w 155447"/>
                    <a:gd name="connsiteY2" fmla="*/ 89915 h 179832"/>
                    <a:gd name="connsiteX3" fmla="*/ 77721 w 155447"/>
                    <a:gd name="connsiteY3" fmla="*/ 0 h 179832"/>
                    <a:gd name="connsiteX4" fmla="*/ 155447 w 155447"/>
                    <a:gd name="connsiteY4" fmla="*/ 89915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47" y="89915"/>
                      </a:moveTo>
                      <a:cubicBezTo>
                        <a:pt x="155447" y="139575"/>
                        <a:pt x="120649" y="179831"/>
                        <a:pt x="77721" y="179831"/>
                      </a:cubicBezTo>
                      <a:cubicBezTo>
                        <a:pt x="34794" y="179831"/>
                        <a:pt x="-4" y="139575"/>
                        <a:pt x="-4" y="89915"/>
                      </a:cubicBezTo>
                      <a:cubicBezTo>
                        <a:pt x="-4" y="40255"/>
                        <a:pt x="34794" y="0"/>
                        <a:pt x="77721" y="0"/>
                      </a:cubicBezTo>
                      <a:cubicBezTo>
                        <a:pt x="120649" y="0"/>
                        <a:pt x="155447" y="40255"/>
                        <a:pt x="155447" y="8991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7" name="Graphic 2">
                  <a:extLst>
                    <a:ext uri="{FF2B5EF4-FFF2-40B4-BE49-F238E27FC236}">
                      <a16:creationId xmlns:a16="http://schemas.microsoft.com/office/drawing/2014/main" id="{61F7351D-9E16-49F1-9606-138F01A4F7A4}"/>
                    </a:ext>
                  </a:extLst>
                </p:cNvPr>
                <p:cNvSpPr/>
                <p:nvPr/>
              </p:nvSpPr>
              <p:spPr>
                <a:xfrm>
                  <a:off x="7903234" y="4822967"/>
                  <a:ext cx="8499" cy="9832"/>
                </a:xfrm>
                <a:custGeom>
                  <a:avLst/>
                  <a:gdLst>
                    <a:gd name="connsiteX0" fmla="*/ 155449 w 155447"/>
                    <a:gd name="connsiteY0" fmla="*/ 89916 h 179832"/>
                    <a:gd name="connsiteX1" fmla="*/ 77724 w 155447"/>
                    <a:gd name="connsiteY1" fmla="*/ 179831 h 179832"/>
                    <a:gd name="connsiteX2" fmla="*/ -2 w 155447"/>
                    <a:gd name="connsiteY2" fmla="*/ 89916 h 179832"/>
                    <a:gd name="connsiteX3" fmla="*/ 77724 w 155447"/>
                    <a:gd name="connsiteY3" fmla="*/ 0 h 179832"/>
                    <a:gd name="connsiteX4" fmla="*/ 155449 w 155447"/>
                    <a:gd name="connsiteY4" fmla="*/ 89916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49" y="89916"/>
                      </a:moveTo>
                      <a:cubicBezTo>
                        <a:pt x="155449" y="139575"/>
                        <a:pt x="120651" y="179831"/>
                        <a:pt x="77724" y="179831"/>
                      </a:cubicBezTo>
                      <a:cubicBezTo>
                        <a:pt x="34796" y="179831"/>
                        <a:pt x="-2" y="139575"/>
                        <a:pt x="-2" y="89916"/>
                      </a:cubicBezTo>
                      <a:cubicBezTo>
                        <a:pt x="-2" y="40256"/>
                        <a:pt x="34796" y="0"/>
                        <a:pt x="77724" y="0"/>
                      </a:cubicBezTo>
                      <a:cubicBezTo>
                        <a:pt x="120651" y="0"/>
                        <a:pt x="155449" y="40256"/>
                        <a:pt x="155449" y="89916"/>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8" name="Graphic 2">
                  <a:extLst>
                    <a:ext uri="{FF2B5EF4-FFF2-40B4-BE49-F238E27FC236}">
                      <a16:creationId xmlns:a16="http://schemas.microsoft.com/office/drawing/2014/main" id="{20ADD367-3303-4201-85CB-962F5998DA88}"/>
                    </a:ext>
                  </a:extLst>
                </p:cNvPr>
                <p:cNvSpPr/>
                <p:nvPr/>
              </p:nvSpPr>
              <p:spPr>
                <a:xfrm>
                  <a:off x="7904817" y="4798304"/>
                  <a:ext cx="8499" cy="9832"/>
                </a:xfrm>
                <a:custGeom>
                  <a:avLst/>
                  <a:gdLst>
                    <a:gd name="connsiteX0" fmla="*/ 155450 w 155447"/>
                    <a:gd name="connsiteY0" fmla="*/ 89917 h 179832"/>
                    <a:gd name="connsiteX1" fmla="*/ 77724 w 155447"/>
                    <a:gd name="connsiteY1" fmla="*/ 179832 h 179832"/>
                    <a:gd name="connsiteX2" fmla="*/ -1 w 155447"/>
                    <a:gd name="connsiteY2" fmla="*/ 89917 h 179832"/>
                    <a:gd name="connsiteX3" fmla="*/ 77724 w 155447"/>
                    <a:gd name="connsiteY3" fmla="*/ 2 h 179832"/>
                    <a:gd name="connsiteX4" fmla="*/ 155450 w 155447"/>
                    <a:gd name="connsiteY4" fmla="*/ 89917 h 179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447" h="179832">
                      <a:moveTo>
                        <a:pt x="155450" y="89917"/>
                      </a:moveTo>
                      <a:cubicBezTo>
                        <a:pt x="155450" y="139577"/>
                        <a:pt x="120652" y="179832"/>
                        <a:pt x="77724" y="179832"/>
                      </a:cubicBezTo>
                      <a:cubicBezTo>
                        <a:pt x="34797" y="179832"/>
                        <a:pt x="-1" y="139577"/>
                        <a:pt x="-1" y="89917"/>
                      </a:cubicBezTo>
                      <a:cubicBezTo>
                        <a:pt x="-1" y="40257"/>
                        <a:pt x="34797" y="2"/>
                        <a:pt x="77724" y="2"/>
                      </a:cubicBezTo>
                      <a:cubicBezTo>
                        <a:pt x="120652" y="2"/>
                        <a:pt x="155450" y="40257"/>
                        <a:pt x="155450" y="89917"/>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59" name="Graphic 2">
                  <a:extLst>
                    <a:ext uri="{FF2B5EF4-FFF2-40B4-BE49-F238E27FC236}">
                      <a16:creationId xmlns:a16="http://schemas.microsoft.com/office/drawing/2014/main" id="{23E8B646-E02C-4C6E-8A30-AE2AD4A54307}"/>
                    </a:ext>
                  </a:extLst>
                </p:cNvPr>
                <p:cNvSpPr/>
                <p:nvPr/>
              </p:nvSpPr>
              <p:spPr>
                <a:xfrm>
                  <a:off x="7901817" y="4769475"/>
                  <a:ext cx="8832" cy="10165"/>
                </a:xfrm>
                <a:custGeom>
                  <a:avLst/>
                  <a:gdLst>
                    <a:gd name="connsiteX0" fmla="*/ 161545 w 161543"/>
                    <a:gd name="connsiteY0" fmla="*/ 92965 h 185928"/>
                    <a:gd name="connsiteX1" fmla="*/ 80773 w 161543"/>
                    <a:gd name="connsiteY1" fmla="*/ 185929 h 185928"/>
                    <a:gd name="connsiteX2" fmla="*/ 1 w 161543"/>
                    <a:gd name="connsiteY2" fmla="*/ 92965 h 185928"/>
                    <a:gd name="connsiteX3" fmla="*/ 80773 w 161543"/>
                    <a:gd name="connsiteY3" fmla="*/ 1 h 185928"/>
                    <a:gd name="connsiteX4" fmla="*/ 161545 w 161543"/>
                    <a:gd name="connsiteY4" fmla="*/ 92965 h 18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43" h="185928">
                      <a:moveTo>
                        <a:pt x="161545" y="92965"/>
                      </a:moveTo>
                      <a:cubicBezTo>
                        <a:pt x="161545" y="144308"/>
                        <a:pt x="125384" y="185929"/>
                        <a:pt x="80773" y="185929"/>
                      </a:cubicBezTo>
                      <a:cubicBezTo>
                        <a:pt x="36162" y="185929"/>
                        <a:pt x="1" y="144308"/>
                        <a:pt x="1" y="92965"/>
                      </a:cubicBezTo>
                      <a:cubicBezTo>
                        <a:pt x="1" y="41621"/>
                        <a:pt x="36162" y="1"/>
                        <a:pt x="80773" y="1"/>
                      </a:cubicBezTo>
                      <a:cubicBezTo>
                        <a:pt x="125384" y="1"/>
                        <a:pt x="161545" y="41621"/>
                        <a:pt x="161545" y="92965"/>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0" name="Graphic 2">
                  <a:extLst>
                    <a:ext uri="{FF2B5EF4-FFF2-40B4-BE49-F238E27FC236}">
                      <a16:creationId xmlns:a16="http://schemas.microsoft.com/office/drawing/2014/main" id="{1D2C6067-2914-4B47-B189-7AE61B656786}"/>
                    </a:ext>
                  </a:extLst>
                </p:cNvPr>
                <p:cNvSpPr/>
                <p:nvPr/>
              </p:nvSpPr>
              <p:spPr>
                <a:xfrm>
                  <a:off x="7891069" y="4748811"/>
                  <a:ext cx="8832" cy="10165"/>
                </a:xfrm>
                <a:custGeom>
                  <a:avLst/>
                  <a:gdLst>
                    <a:gd name="connsiteX0" fmla="*/ 161543 w 161543"/>
                    <a:gd name="connsiteY0" fmla="*/ 92963 h 185928"/>
                    <a:gd name="connsiteX1" fmla="*/ 80771 w 161543"/>
                    <a:gd name="connsiteY1" fmla="*/ 185927 h 185928"/>
                    <a:gd name="connsiteX2" fmla="*/ 0 w 161543"/>
                    <a:gd name="connsiteY2" fmla="*/ 92963 h 185928"/>
                    <a:gd name="connsiteX3" fmla="*/ 80771 w 161543"/>
                    <a:gd name="connsiteY3" fmla="*/ -1 h 185928"/>
                    <a:gd name="connsiteX4" fmla="*/ 161543 w 161543"/>
                    <a:gd name="connsiteY4" fmla="*/ 92963 h 18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543" h="185928">
                      <a:moveTo>
                        <a:pt x="161543" y="92963"/>
                      </a:moveTo>
                      <a:cubicBezTo>
                        <a:pt x="161543" y="144306"/>
                        <a:pt x="125383" y="185927"/>
                        <a:pt x="80771" y="185927"/>
                      </a:cubicBezTo>
                      <a:cubicBezTo>
                        <a:pt x="36160" y="185927"/>
                        <a:pt x="0" y="144306"/>
                        <a:pt x="0" y="92963"/>
                      </a:cubicBezTo>
                      <a:cubicBezTo>
                        <a:pt x="0" y="41620"/>
                        <a:pt x="36160" y="-1"/>
                        <a:pt x="80771" y="-1"/>
                      </a:cubicBezTo>
                      <a:cubicBezTo>
                        <a:pt x="125383" y="-1"/>
                        <a:pt x="161543" y="41620"/>
                        <a:pt x="161543" y="92963"/>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1" name="Graphic 2">
                  <a:extLst>
                    <a:ext uri="{FF2B5EF4-FFF2-40B4-BE49-F238E27FC236}">
                      <a16:creationId xmlns:a16="http://schemas.microsoft.com/office/drawing/2014/main" id="{1A564261-C419-4957-8558-057EFFD1D604}"/>
                    </a:ext>
                  </a:extLst>
                </p:cNvPr>
                <p:cNvSpPr/>
                <p:nvPr/>
              </p:nvSpPr>
              <p:spPr>
                <a:xfrm>
                  <a:off x="7879154" y="4732314"/>
                  <a:ext cx="8665" cy="9998"/>
                </a:xfrm>
                <a:custGeom>
                  <a:avLst/>
                  <a:gdLst>
                    <a:gd name="connsiteX0" fmla="*/ 158498 w 158495"/>
                    <a:gd name="connsiteY0" fmla="*/ 91440 h 182879"/>
                    <a:gd name="connsiteX1" fmla="*/ 79252 w 158495"/>
                    <a:gd name="connsiteY1" fmla="*/ 182881 h 182879"/>
                    <a:gd name="connsiteX2" fmla="*/ 5 w 158495"/>
                    <a:gd name="connsiteY2" fmla="*/ 91440 h 182879"/>
                    <a:gd name="connsiteX3" fmla="*/ 79252 w 158495"/>
                    <a:gd name="connsiteY3" fmla="*/ 0 h 182879"/>
                    <a:gd name="connsiteX4" fmla="*/ 158498 w 158495"/>
                    <a:gd name="connsiteY4" fmla="*/ 91440 h 182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95" h="182879">
                      <a:moveTo>
                        <a:pt x="158498" y="91440"/>
                      </a:moveTo>
                      <a:cubicBezTo>
                        <a:pt x="158498" y="141942"/>
                        <a:pt x="123016" y="182881"/>
                        <a:pt x="79252" y="182881"/>
                      </a:cubicBezTo>
                      <a:cubicBezTo>
                        <a:pt x="35482" y="182881"/>
                        <a:pt x="5" y="141942"/>
                        <a:pt x="5" y="91440"/>
                      </a:cubicBezTo>
                      <a:cubicBezTo>
                        <a:pt x="5" y="40939"/>
                        <a:pt x="35487" y="0"/>
                        <a:pt x="79252" y="0"/>
                      </a:cubicBezTo>
                      <a:cubicBezTo>
                        <a:pt x="123021" y="0"/>
                        <a:pt x="158498" y="40939"/>
                        <a:pt x="158498" y="9144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2" name="Graphic 2">
                  <a:extLst>
                    <a:ext uri="{FF2B5EF4-FFF2-40B4-BE49-F238E27FC236}">
                      <a16:creationId xmlns:a16="http://schemas.microsoft.com/office/drawing/2014/main" id="{866B3D43-EA8A-4F1A-9DA0-DA6F96271371}"/>
                    </a:ext>
                  </a:extLst>
                </p:cNvPr>
                <p:cNvSpPr/>
                <p:nvPr/>
              </p:nvSpPr>
              <p:spPr>
                <a:xfrm>
                  <a:off x="7857158" y="4723482"/>
                  <a:ext cx="7999" cy="9165"/>
                </a:xfrm>
                <a:custGeom>
                  <a:avLst/>
                  <a:gdLst>
                    <a:gd name="connsiteX0" fmla="*/ 146306 w 146304"/>
                    <a:gd name="connsiteY0" fmla="*/ 83820 h 167640"/>
                    <a:gd name="connsiteX1" fmla="*/ 73152 w 146304"/>
                    <a:gd name="connsiteY1" fmla="*/ 167641 h 167640"/>
                    <a:gd name="connsiteX2" fmla="*/ -1 w 146304"/>
                    <a:gd name="connsiteY2" fmla="*/ 83820 h 167640"/>
                    <a:gd name="connsiteX3" fmla="*/ 73152 w 146304"/>
                    <a:gd name="connsiteY3" fmla="*/ 0 h 167640"/>
                    <a:gd name="connsiteX4" fmla="*/ 146306 w 146304"/>
                    <a:gd name="connsiteY4" fmla="*/ 83820 h 167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 h="167640">
                      <a:moveTo>
                        <a:pt x="146306" y="83820"/>
                      </a:moveTo>
                      <a:cubicBezTo>
                        <a:pt x="146306" y="130113"/>
                        <a:pt x="113554" y="167641"/>
                        <a:pt x="73152" y="167641"/>
                      </a:cubicBezTo>
                      <a:cubicBezTo>
                        <a:pt x="32750" y="167641"/>
                        <a:pt x="-1" y="130113"/>
                        <a:pt x="-1" y="83820"/>
                      </a:cubicBezTo>
                      <a:cubicBezTo>
                        <a:pt x="-1" y="37528"/>
                        <a:pt x="32750" y="0"/>
                        <a:pt x="73152" y="0"/>
                      </a:cubicBezTo>
                      <a:cubicBezTo>
                        <a:pt x="113554" y="0"/>
                        <a:pt x="146306" y="37528"/>
                        <a:pt x="146306" y="8382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3" name="Graphic 2">
                  <a:extLst>
                    <a:ext uri="{FF2B5EF4-FFF2-40B4-BE49-F238E27FC236}">
                      <a16:creationId xmlns:a16="http://schemas.microsoft.com/office/drawing/2014/main" id="{1D20FF28-2522-4668-AF0E-577540660180}"/>
                    </a:ext>
                  </a:extLst>
                </p:cNvPr>
                <p:cNvSpPr/>
                <p:nvPr/>
              </p:nvSpPr>
              <p:spPr>
                <a:xfrm>
                  <a:off x="7828580" y="4725148"/>
                  <a:ext cx="7832" cy="8999"/>
                </a:xfrm>
                <a:custGeom>
                  <a:avLst/>
                  <a:gdLst>
                    <a:gd name="connsiteX0" fmla="*/ 143256 w 143256"/>
                    <a:gd name="connsiteY0" fmla="*/ 82297 h 164591"/>
                    <a:gd name="connsiteX1" fmla="*/ 71628 w 143256"/>
                    <a:gd name="connsiteY1" fmla="*/ 164592 h 164591"/>
                    <a:gd name="connsiteX2" fmla="*/ 0 w 143256"/>
                    <a:gd name="connsiteY2" fmla="*/ 82297 h 164591"/>
                    <a:gd name="connsiteX3" fmla="*/ 71628 w 143256"/>
                    <a:gd name="connsiteY3" fmla="*/ 2 h 164591"/>
                    <a:gd name="connsiteX4" fmla="*/ 143256 w 143256"/>
                    <a:gd name="connsiteY4" fmla="*/ 82297 h 164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56" h="164591">
                      <a:moveTo>
                        <a:pt x="143256" y="82297"/>
                      </a:moveTo>
                      <a:cubicBezTo>
                        <a:pt x="143256" y="127747"/>
                        <a:pt x="111188" y="164592"/>
                        <a:pt x="71628" y="164592"/>
                      </a:cubicBezTo>
                      <a:cubicBezTo>
                        <a:pt x="32067" y="164592"/>
                        <a:pt x="0" y="127747"/>
                        <a:pt x="0" y="82297"/>
                      </a:cubicBezTo>
                      <a:cubicBezTo>
                        <a:pt x="0" y="36846"/>
                        <a:pt x="32067" y="2"/>
                        <a:pt x="71628" y="2"/>
                      </a:cubicBezTo>
                      <a:cubicBezTo>
                        <a:pt x="111188" y="2"/>
                        <a:pt x="143256" y="36846"/>
                        <a:pt x="143256" y="82297"/>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4" name="Graphic 2">
                  <a:extLst>
                    <a:ext uri="{FF2B5EF4-FFF2-40B4-BE49-F238E27FC236}">
                      <a16:creationId xmlns:a16="http://schemas.microsoft.com/office/drawing/2014/main" id="{628653B6-54B4-4734-BF99-6B309206B974}"/>
                    </a:ext>
                  </a:extLst>
                </p:cNvPr>
                <p:cNvSpPr/>
                <p:nvPr/>
              </p:nvSpPr>
              <p:spPr>
                <a:xfrm>
                  <a:off x="7806750" y="4746645"/>
                  <a:ext cx="7665" cy="8832"/>
                </a:xfrm>
                <a:custGeom>
                  <a:avLst/>
                  <a:gdLst>
                    <a:gd name="connsiteX0" fmla="*/ 140206 w 140207"/>
                    <a:gd name="connsiteY0" fmla="*/ 80772 h 161544"/>
                    <a:gd name="connsiteX1" fmla="*/ 70103 w 140207"/>
                    <a:gd name="connsiteY1" fmla="*/ 161543 h 161544"/>
                    <a:gd name="connsiteX2" fmla="*/ 0 w 140207"/>
                    <a:gd name="connsiteY2" fmla="*/ 80772 h 161544"/>
                    <a:gd name="connsiteX3" fmla="*/ 70103 w 140207"/>
                    <a:gd name="connsiteY3" fmla="*/ 0 h 161544"/>
                    <a:gd name="connsiteX4" fmla="*/ 140206 w 140207"/>
                    <a:gd name="connsiteY4" fmla="*/ 80772 h 16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207" h="161544">
                      <a:moveTo>
                        <a:pt x="140206" y="80772"/>
                      </a:moveTo>
                      <a:cubicBezTo>
                        <a:pt x="140206" y="125380"/>
                        <a:pt x="108817" y="161543"/>
                        <a:pt x="70103" y="161543"/>
                      </a:cubicBezTo>
                      <a:cubicBezTo>
                        <a:pt x="31385" y="161543"/>
                        <a:pt x="0" y="125380"/>
                        <a:pt x="0" y="80772"/>
                      </a:cubicBezTo>
                      <a:cubicBezTo>
                        <a:pt x="0" y="36163"/>
                        <a:pt x="31389" y="0"/>
                        <a:pt x="70103" y="0"/>
                      </a:cubicBezTo>
                      <a:cubicBezTo>
                        <a:pt x="108822" y="0"/>
                        <a:pt x="140206" y="36163"/>
                        <a:pt x="140206" y="80772"/>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5" name="Graphic 2">
                  <a:extLst>
                    <a:ext uri="{FF2B5EF4-FFF2-40B4-BE49-F238E27FC236}">
                      <a16:creationId xmlns:a16="http://schemas.microsoft.com/office/drawing/2014/main" id="{20E3EEE7-5B6A-4B90-84B7-685847C7904D}"/>
                    </a:ext>
                  </a:extLst>
                </p:cNvPr>
                <p:cNvSpPr/>
                <p:nvPr/>
              </p:nvSpPr>
              <p:spPr>
                <a:xfrm>
                  <a:off x="7794752" y="4769058"/>
                  <a:ext cx="7665" cy="8832"/>
                </a:xfrm>
                <a:custGeom>
                  <a:avLst/>
                  <a:gdLst>
                    <a:gd name="connsiteX0" fmla="*/ 140210 w 140207"/>
                    <a:gd name="connsiteY0" fmla="*/ 80772 h 161544"/>
                    <a:gd name="connsiteX1" fmla="*/ 70107 w 140207"/>
                    <a:gd name="connsiteY1" fmla="*/ 161544 h 161544"/>
                    <a:gd name="connsiteX2" fmla="*/ 5 w 140207"/>
                    <a:gd name="connsiteY2" fmla="*/ 80772 h 161544"/>
                    <a:gd name="connsiteX3" fmla="*/ 70107 w 140207"/>
                    <a:gd name="connsiteY3" fmla="*/ 0 h 161544"/>
                    <a:gd name="connsiteX4" fmla="*/ 140210 w 140207"/>
                    <a:gd name="connsiteY4" fmla="*/ 80772 h 16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207" h="161544">
                      <a:moveTo>
                        <a:pt x="140210" y="80772"/>
                      </a:moveTo>
                      <a:cubicBezTo>
                        <a:pt x="140210" y="125381"/>
                        <a:pt x="108821" y="161544"/>
                        <a:pt x="70107" y="161544"/>
                      </a:cubicBezTo>
                      <a:cubicBezTo>
                        <a:pt x="31389" y="161544"/>
                        <a:pt x="5" y="125381"/>
                        <a:pt x="5" y="80772"/>
                      </a:cubicBezTo>
                      <a:cubicBezTo>
                        <a:pt x="5" y="36163"/>
                        <a:pt x="31393" y="0"/>
                        <a:pt x="70107" y="0"/>
                      </a:cubicBezTo>
                      <a:cubicBezTo>
                        <a:pt x="108826" y="0"/>
                        <a:pt x="140210" y="36163"/>
                        <a:pt x="140210" y="80772"/>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6" name="Graphic 2">
                  <a:extLst>
                    <a:ext uri="{FF2B5EF4-FFF2-40B4-BE49-F238E27FC236}">
                      <a16:creationId xmlns:a16="http://schemas.microsoft.com/office/drawing/2014/main" id="{B04FBC6D-EF24-479F-8474-0D699336D7DF}"/>
                    </a:ext>
                  </a:extLst>
                </p:cNvPr>
                <p:cNvSpPr/>
                <p:nvPr/>
              </p:nvSpPr>
              <p:spPr>
                <a:xfrm>
                  <a:off x="7791086" y="4799720"/>
                  <a:ext cx="7665" cy="8832"/>
                </a:xfrm>
                <a:custGeom>
                  <a:avLst/>
                  <a:gdLst>
                    <a:gd name="connsiteX0" fmla="*/ 140210 w 140207"/>
                    <a:gd name="connsiteY0" fmla="*/ 80773 h 161544"/>
                    <a:gd name="connsiteX1" fmla="*/ 70107 w 140207"/>
                    <a:gd name="connsiteY1" fmla="*/ 161545 h 161544"/>
                    <a:gd name="connsiteX2" fmla="*/ 4 w 140207"/>
                    <a:gd name="connsiteY2" fmla="*/ 80773 h 161544"/>
                    <a:gd name="connsiteX3" fmla="*/ 70107 w 140207"/>
                    <a:gd name="connsiteY3" fmla="*/ 1 h 161544"/>
                    <a:gd name="connsiteX4" fmla="*/ 140210 w 140207"/>
                    <a:gd name="connsiteY4" fmla="*/ 80773 h 16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207" h="161544">
                      <a:moveTo>
                        <a:pt x="140210" y="80773"/>
                      </a:moveTo>
                      <a:cubicBezTo>
                        <a:pt x="140210" y="125382"/>
                        <a:pt x="108821" y="161545"/>
                        <a:pt x="70107" y="161545"/>
                      </a:cubicBezTo>
                      <a:cubicBezTo>
                        <a:pt x="31388" y="161545"/>
                        <a:pt x="4" y="125382"/>
                        <a:pt x="4" y="80773"/>
                      </a:cubicBezTo>
                      <a:cubicBezTo>
                        <a:pt x="4" y="36164"/>
                        <a:pt x="31393" y="1"/>
                        <a:pt x="70107" y="1"/>
                      </a:cubicBezTo>
                      <a:cubicBezTo>
                        <a:pt x="108826" y="1"/>
                        <a:pt x="140210" y="36164"/>
                        <a:pt x="140210" y="80773"/>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7" name="Graphic 2">
                  <a:extLst>
                    <a:ext uri="{FF2B5EF4-FFF2-40B4-BE49-F238E27FC236}">
                      <a16:creationId xmlns:a16="http://schemas.microsoft.com/office/drawing/2014/main" id="{134510EF-F3E8-4E61-A78E-F7A6F6551ED4}"/>
                    </a:ext>
                  </a:extLst>
                </p:cNvPr>
                <p:cNvSpPr/>
                <p:nvPr/>
              </p:nvSpPr>
              <p:spPr>
                <a:xfrm>
                  <a:off x="7789586" y="4688154"/>
                  <a:ext cx="412513" cy="163725"/>
                </a:xfrm>
                <a:custGeom>
                  <a:avLst/>
                  <a:gdLst>
                    <a:gd name="connsiteX0" fmla="*/ 2103118 w 7545325"/>
                    <a:gd name="connsiteY0" fmla="*/ 1703833 h 2994661"/>
                    <a:gd name="connsiteX1" fmla="*/ 0 w 7545325"/>
                    <a:gd name="connsiteY1" fmla="*/ 155449 h 2994661"/>
                    <a:gd name="connsiteX2" fmla="*/ 1825749 w 7545325"/>
                    <a:gd name="connsiteY2" fmla="*/ 0 h 2994661"/>
                    <a:gd name="connsiteX3" fmla="*/ 6455662 w 7545325"/>
                    <a:gd name="connsiteY3" fmla="*/ 0 h 2994661"/>
                    <a:gd name="connsiteX4" fmla="*/ 7479790 w 7545325"/>
                    <a:gd name="connsiteY4" fmla="*/ 519685 h 2994661"/>
                    <a:gd name="connsiteX5" fmla="*/ 7545326 w 7545325"/>
                    <a:gd name="connsiteY5" fmla="*/ 763526 h 2994661"/>
                    <a:gd name="connsiteX6" fmla="*/ 7545326 w 7545325"/>
                    <a:gd name="connsiteY6" fmla="*/ 2833118 h 2994661"/>
                    <a:gd name="connsiteX7" fmla="*/ 7383777 w 7545325"/>
                    <a:gd name="connsiteY7" fmla="*/ 2994662 h 2994661"/>
                    <a:gd name="connsiteX8" fmla="*/ 5314188 w 7545325"/>
                    <a:gd name="connsiteY8" fmla="*/ 2994662 h 2994661"/>
                    <a:gd name="connsiteX9" fmla="*/ 5207506 w 7545325"/>
                    <a:gd name="connsiteY9" fmla="*/ 2910841 h 2994661"/>
                    <a:gd name="connsiteX10" fmla="*/ 4745734 w 7545325"/>
                    <a:gd name="connsiteY10" fmla="*/ 1940054 h 2994661"/>
                    <a:gd name="connsiteX11" fmla="*/ 4355590 w 7545325"/>
                    <a:gd name="connsiteY11" fmla="*/ 1776985 h 2994661"/>
                    <a:gd name="connsiteX12" fmla="*/ 2217418 w 7545325"/>
                    <a:gd name="connsiteY12" fmla="*/ 1789177 h 2994661"/>
                    <a:gd name="connsiteX13" fmla="*/ 2103118 w 7545325"/>
                    <a:gd name="connsiteY13" fmla="*/ 1703833 h 2994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45325" h="2994661">
                      <a:moveTo>
                        <a:pt x="2103118" y="1703833"/>
                      </a:moveTo>
                      <a:cubicBezTo>
                        <a:pt x="2004059" y="1335026"/>
                        <a:pt x="1490472" y="-59436"/>
                        <a:pt x="0" y="155449"/>
                      </a:cubicBezTo>
                      <a:cubicBezTo>
                        <a:pt x="0" y="155449"/>
                        <a:pt x="35049" y="25910"/>
                        <a:pt x="1825749" y="0"/>
                      </a:cubicBezTo>
                      <a:lnTo>
                        <a:pt x="6455662" y="0"/>
                      </a:lnTo>
                      <a:cubicBezTo>
                        <a:pt x="6455662" y="0"/>
                        <a:pt x="7176516" y="33528"/>
                        <a:pt x="7479790" y="519685"/>
                      </a:cubicBezTo>
                      <a:cubicBezTo>
                        <a:pt x="7525513" y="592836"/>
                        <a:pt x="7545326" y="678182"/>
                        <a:pt x="7545326" y="763526"/>
                      </a:cubicBezTo>
                      <a:lnTo>
                        <a:pt x="7545326" y="2833118"/>
                      </a:lnTo>
                      <a:cubicBezTo>
                        <a:pt x="7545326" y="2923033"/>
                        <a:pt x="7472172" y="2994662"/>
                        <a:pt x="7383777" y="2994662"/>
                      </a:cubicBezTo>
                      <a:lnTo>
                        <a:pt x="5314188" y="2994662"/>
                      </a:lnTo>
                      <a:cubicBezTo>
                        <a:pt x="5262372" y="2994662"/>
                        <a:pt x="5218175" y="2959610"/>
                        <a:pt x="5207506" y="2910841"/>
                      </a:cubicBezTo>
                      <a:cubicBezTo>
                        <a:pt x="5163313" y="2720341"/>
                        <a:pt x="5030726" y="2246377"/>
                        <a:pt x="4745734" y="1940054"/>
                      </a:cubicBezTo>
                      <a:cubicBezTo>
                        <a:pt x="4645149" y="1831849"/>
                        <a:pt x="4503418" y="1775461"/>
                        <a:pt x="4355590" y="1776985"/>
                      </a:cubicBezTo>
                      <a:cubicBezTo>
                        <a:pt x="3861816" y="1780033"/>
                        <a:pt x="2574034" y="1787654"/>
                        <a:pt x="2217418" y="1789177"/>
                      </a:cubicBezTo>
                      <a:cubicBezTo>
                        <a:pt x="2162556" y="1790700"/>
                        <a:pt x="2116834" y="1755649"/>
                        <a:pt x="2103118" y="1703833"/>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8" name="Graphic 2">
                  <a:extLst>
                    <a:ext uri="{FF2B5EF4-FFF2-40B4-BE49-F238E27FC236}">
                      <a16:creationId xmlns:a16="http://schemas.microsoft.com/office/drawing/2014/main" id="{084F607C-81F6-444C-8B89-180CCFC04ECD}"/>
                    </a:ext>
                  </a:extLst>
                </p:cNvPr>
                <p:cNvSpPr/>
                <p:nvPr/>
              </p:nvSpPr>
              <p:spPr>
                <a:xfrm>
                  <a:off x="8237010" y="5076261"/>
                  <a:ext cx="34661" cy="17164"/>
                </a:xfrm>
                <a:custGeom>
                  <a:avLst/>
                  <a:gdLst>
                    <a:gd name="connsiteX0" fmla="*/ 0 w 633984"/>
                    <a:gd name="connsiteY0" fmla="*/ 0 h 313943"/>
                    <a:gd name="connsiteX1" fmla="*/ 0 w 633984"/>
                    <a:gd name="connsiteY1" fmla="*/ 53336 h 313943"/>
                    <a:gd name="connsiteX2" fmla="*/ 0 w 633984"/>
                    <a:gd name="connsiteY2" fmla="*/ 86864 h 313943"/>
                    <a:gd name="connsiteX3" fmla="*/ 0 w 633984"/>
                    <a:gd name="connsiteY3" fmla="*/ 102105 h 313943"/>
                    <a:gd name="connsiteX4" fmla="*/ 0 w 633984"/>
                    <a:gd name="connsiteY4" fmla="*/ 140205 h 313943"/>
                    <a:gd name="connsiteX5" fmla="*/ 0 w 633984"/>
                    <a:gd name="connsiteY5" fmla="*/ 188975 h 313943"/>
                    <a:gd name="connsiteX6" fmla="*/ 166120 w 633984"/>
                    <a:gd name="connsiteY6" fmla="*/ 228600 h 313943"/>
                    <a:gd name="connsiteX7" fmla="*/ 166120 w 633984"/>
                    <a:gd name="connsiteY7" fmla="*/ 243836 h 313943"/>
                    <a:gd name="connsiteX8" fmla="*/ 166120 w 633984"/>
                    <a:gd name="connsiteY8" fmla="*/ 251459 h 313943"/>
                    <a:gd name="connsiteX9" fmla="*/ 166120 w 633984"/>
                    <a:gd name="connsiteY9" fmla="*/ 269746 h 313943"/>
                    <a:gd name="connsiteX10" fmla="*/ 166120 w 633984"/>
                    <a:gd name="connsiteY10" fmla="*/ 292605 h 313943"/>
                    <a:gd name="connsiteX11" fmla="*/ 316995 w 633984"/>
                    <a:gd name="connsiteY11" fmla="*/ 313944 h 313943"/>
                    <a:gd name="connsiteX12" fmla="*/ 467869 w 633984"/>
                    <a:gd name="connsiteY12" fmla="*/ 292605 h 313943"/>
                    <a:gd name="connsiteX13" fmla="*/ 467869 w 633984"/>
                    <a:gd name="connsiteY13" fmla="*/ 269746 h 313943"/>
                    <a:gd name="connsiteX14" fmla="*/ 467869 w 633984"/>
                    <a:gd name="connsiteY14" fmla="*/ 251459 h 313943"/>
                    <a:gd name="connsiteX15" fmla="*/ 467869 w 633984"/>
                    <a:gd name="connsiteY15" fmla="*/ 243836 h 313943"/>
                    <a:gd name="connsiteX16" fmla="*/ 467869 w 633984"/>
                    <a:gd name="connsiteY16" fmla="*/ 228600 h 313943"/>
                    <a:gd name="connsiteX17" fmla="*/ 633985 w 633984"/>
                    <a:gd name="connsiteY17" fmla="*/ 188975 h 313943"/>
                    <a:gd name="connsiteX18" fmla="*/ 633985 w 633984"/>
                    <a:gd name="connsiteY18" fmla="*/ 140205 h 313943"/>
                    <a:gd name="connsiteX19" fmla="*/ 633985 w 633984"/>
                    <a:gd name="connsiteY19" fmla="*/ 102105 h 313943"/>
                    <a:gd name="connsiteX20" fmla="*/ 633985 w 633984"/>
                    <a:gd name="connsiteY20" fmla="*/ 86864 h 313943"/>
                    <a:gd name="connsiteX21" fmla="*/ 633985 w 633984"/>
                    <a:gd name="connsiteY21" fmla="*/ 53336 h 313943"/>
                    <a:gd name="connsiteX22" fmla="*/ 633985 w 633984"/>
                    <a:gd name="connsiteY22" fmla="*/ 0 h 313943"/>
                    <a:gd name="connsiteX23" fmla="*/ 0 w 633984"/>
                    <a:gd name="connsiteY23" fmla="*/ 0 h 31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984" h="313943">
                      <a:moveTo>
                        <a:pt x="0" y="0"/>
                      </a:moveTo>
                      <a:lnTo>
                        <a:pt x="0" y="53336"/>
                      </a:lnTo>
                      <a:lnTo>
                        <a:pt x="0" y="86864"/>
                      </a:lnTo>
                      <a:lnTo>
                        <a:pt x="0" y="102105"/>
                      </a:lnTo>
                      <a:lnTo>
                        <a:pt x="0" y="140205"/>
                      </a:lnTo>
                      <a:lnTo>
                        <a:pt x="0" y="188975"/>
                      </a:lnTo>
                      <a:cubicBezTo>
                        <a:pt x="0" y="205736"/>
                        <a:pt x="67056" y="220977"/>
                        <a:pt x="166120" y="228600"/>
                      </a:cubicBezTo>
                      <a:lnTo>
                        <a:pt x="166120" y="243836"/>
                      </a:lnTo>
                      <a:lnTo>
                        <a:pt x="166120" y="251459"/>
                      </a:lnTo>
                      <a:lnTo>
                        <a:pt x="166120" y="269746"/>
                      </a:lnTo>
                      <a:lnTo>
                        <a:pt x="166120" y="292605"/>
                      </a:lnTo>
                      <a:cubicBezTo>
                        <a:pt x="166120" y="304800"/>
                        <a:pt x="233172" y="313944"/>
                        <a:pt x="316995" y="313944"/>
                      </a:cubicBezTo>
                      <a:cubicBezTo>
                        <a:pt x="400813" y="313944"/>
                        <a:pt x="467869" y="304800"/>
                        <a:pt x="467869" y="292605"/>
                      </a:cubicBezTo>
                      <a:lnTo>
                        <a:pt x="467869" y="269746"/>
                      </a:lnTo>
                      <a:lnTo>
                        <a:pt x="467869" y="251459"/>
                      </a:lnTo>
                      <a:lnTo>
                        <a:pt x="467869" y="243836"/>
                      </a:lnTo>
                      <a:lnTo>
                        <a:pt x="467869" y="228600"/>
                      </a:lnTo>
                      <a:cubicBezTo>
                        <a:pt x="566928" y="220977"/>
                        <a:pt x="633985" y="205736"/>
                        <a:pt x="633985" y="188975"/>
                      </a:cubicBezTo>
                      <a:lnTo>
                        <a:pt x="633985" y="140205"/>
                      </a:lnTo>
                      <a:lnTo>
                        <a:pt x="633985" y="102105"/>
                      </a:lnTo>
                      <a:lnTo>
                        <a:pt x="633985" y="86864"/>
                      </a:lnTo>
                      <a:lnTo>
                        <a:pt x="633985" y="53336"/>
                      </a:lnTo>
                      <a:lnTo>
                        <a:pt x="633985" y="0"/>
                      </a:lnTo>
                      <a:lnTo>
                        <a:pt x="0"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69" name="Graphic 2">
                  <a:extLst>
                    <a:ext uri="{FF2B5EF4-FFF2-40B4-BE49-F238E27FC236}">
                      <a16:creationId xmlns:a16="http://schemas.microsoft.com/office/drawing/2014/main" id="{B1BABEA8-1CD5-4702-92CD-2D80DC4308A2}"/>
                    </a:ext>
                  </a:extLst>
                </p:cNvPr>
                <p:cNvSpPr/>
                <p:nvPr/>
              </p:nvSpPr>
              <p:spPr>
                <a:xfrm>
                  <a:off x="8075871" y="4980443"/>
                  <a:ext cx="229711" cy="104817"/>
                </a:xfrm>
                <a:custGeom>
                  <a:avLst/>
                  <a:gdLst>
                    <a:gd name="connsiteX0" fmla="*/ 9144 w 4201669"/>
                    <a:gd name="connsiteY0" fmla="*/ 1848608 h 1917189"/>
                    <a:gd name="connsiteX1" fmla="*/ 4075179 w 4201669"/>
                    <a:gd name="connsiteY1" fmla="*/ 1917190 h 1917189"/>
                    <a:gd name="connsiteX2" fmla="*/ 4201669 w 4201669"/>
                    <a:gd name="connsiteY2" fmla="*/ 905256 h 1917189"/>
                    <a:gd name="connsiteX3" fmla="*/ 4085844 w 4201669"/>
                    <a:gd name="connsiteY3" fmla="*/ 0 h 1917189"/>
                    <a:gd name="connsiteX4" fmla="*/ 0 w 4201669"/>
                    <a:gd name="connsiteY4" fmla="*/ 749805 h 1917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1669" h="1917189">
                      <a:moveTo>
                        <a:pt x="9144" y="1848608"/>
                      </a:moveTo>
                      <a:lnTo>
                        <a:pt x="4075179" y="1917190"/>
                      </a:lnTo>
                      <a:lnTo>
                        <a:pt x="4201669" y="905256"/>
                      </a:lnTo>
                      <a:lnTo>
                        <a:pt x="4085844" y="0"/>
                      </a:lnTo>
                      <a:lnTo>
                        <a:pt x="0" y="74980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0" name="Graphic 2">
                  <a:extLst>
                    <a:ext uri="{FF2B5EF4-FFF2-40B4-BE49-F238E27FC236}">
                      <a16:creationId xmlns:a16="http://schemas.microsoft.com/office/drawing/2014/main" id="{C666AD3F-73E7-4C4E-80C2-28D01BFC4E31}"/>
                    </a:ext>
                  </a:extLst>
                </p:cNvPr>
                <p:cNvSpPr/>
                <p:nvPr/>
              </p:nvSpPr>
              <p:spPr>
                <a:xfrm>
                  <a:off x="8229345" y="4965945"/>
                  <a:ext cx="45659" cy="17164"/>
                </a:xfrm>
                <a:custGeom>
                  <a:avLst/>
                  <a:gdLst>
                    <a:gd name="connsiteX0" fmla="*/ 0 w 835153"/>
                    <a:gd name="connsiteY0" fmla="*/ 0 h 313943"/>
                    <a:gd name="connsiteX1" fmla="*/ 0 w 835153"/>
                    <a:gd name="connsiteY1" fmla="*/ 210313 h 313943"/>
                    <a:gd name="connsiteX2" fmla="*/ 417575 w 835153"/>
                    <a:gd name="connsiteY2" fmla="*/ 313944 h 313943"/>
                    <a:gd name="connsiteX3" fmla="*/ 835154 w 835153"/>
                    <a:gd name="connsiteY3" fmla="*/ 210313 h 313943"/>
                    <a:gd name="connsiteX4" fmla="*/ 835154 w 835153"/>
                    <a:gd name="connsiteY4" fmla="*/ 0 h 313943"/>
                    <a:gd name="connsiteX5" fmla="*/ 0 w 835153"/>
                    <a:gd name="connsiteY5" fmla="*/ 0 h 31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153" h="313943">
                      <a:moveTo>
                        <a:pt x="0" y="0"/>
                      </a:moveTo>
                      <a:lnTo>
                        <a:pt x="0" y="210313"/>
                      </a:lnTo>
                      <a:cubicBezTo>
                        <a:pt x="0" y="268226"/>
                        <a:pt x="187454" y="313944"/>
                        <a:pt x="417575" y="313944"/>
                      </a:cubicBezTo>
                      <a:cubicBezTo>
                        <a:pt x="649226" y="313944"/>
                        <a:pt x="835154" y="268226"/>
                        <a:pt x="835154" y="210313"/>
                      </a:cubicBezTo>
                      <a:lnTo>
                        <a:pt x="835154" y="0"/>
                      </a:lnTo>
                      <a:lnTo>
                        <a:pt x="0"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71" name="Graphic 2">
                  <a:extLst>
                    <a:ext uri="{FF2B5EF4-FFF2-40B4-BE49-F238E27FC236}">
                      <a16:creationId xmlns:a16="http://schemas.microsoft.com/office/drawing/2014/main" id="{35371DD4-AA93-4851-88B8-2034D09524F3}"/>
                    </a:ext>
                  </a:extLst>
                </p:cNvPr>
                <p:cNvSpPr/>
                <p:nvPr/>
              </p:nvSpPr>
              <p:spPr>
                <a:xfrm>
                  <a:off x="8229428" y="4960279"/>
                  <a:ext cx="45659" cy="11332"/>
                </a:xfrm>
                <a:custGeom>
                  <a:avLst/>
                  <a:gdLst>
                    <a:gd name="connsiteX0" fmla="*/ 835151 w 835152"/>
                    <a:gd name="connsiteY0" fmla="*/ 103631 h 207264"/>
                    <a:gd name="connsiteX1" fmla="*/ 417577 w 835152"/>
                    <a:gd name="connsiteY1" fmla="*/ 207261 h 207264"/>
                    <a:gd name="connsiteX2" fmla="*/ 2 w 835152"/>
                    <a:gd name="connsiteY2" fmla="*/ 103631 h 207264"/>
                    <a:gd name="connsiteX3" fmla="*/ 417577 w 835152"/>
                    <a:gd name="connsiteY3" fmla="*/ 0 h 207264"/>
                    <a:gd name="connsiteX4" fmla="*/ 835151 w 835152"/>
                    <a:gd name="connsiteY4" fmla="*/ 103631 h 207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5152" h="207264">
                      <a:moveTo>
                        <a:pt x="835151" y="103631"/>
                      </a:moveTo>
                      <a:cubicBezTo>
                        <a:pt x="835151" y="160864"/>
                        <a:pt x="648195" y="207261"/>
                        <a:pt x="417577" y="207261"/>
                      </a:cubicBezTo>
                      <a:cubicBezTo>
                        <a:pt x="186953" y="207261"/>
                        <a:pt x="2" y="160864"/>
                        <a:pt x="2" y="103631"/>
                      </a:cubicBezTo>
                      <a:cubicBezTo>
                        <a:pt x="2" y="46397"/>
                        <a:pt x="186958" y="0"/>
                        <a:pt x="417577" y="0"/>
                      </a:cubicBezTo>
                      <a:cubicBezTo>
                        <a:pt x="648200" y="0"/>
                        <a:pt x="835151" y="46397"/>
                        <a:pt x="835151" y="103631"/>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sp>
            <p:nvSpPr>
              <p:cNvPr id="788" name="Graphic 2">
                <a:extLst>
                  <a:ext uri="{FF2B5EF4-FFF2-40B4-BE49-F238E27FC236}">
                    <a16:creationId xmlns:a16="http://schemas.microsoft.com/office/drawing/2014/main" id="{2D28DD85-B6C4-4350-9249-74FFE8CF987E}"/>
                  </a:ext>
                </a:extLst>
              </p:cNvPr>
              <p:cNvSpPr/>
              <p:nvPr/>
            </p:nvSpPr>
            <p:spPr>
              <a:xfrm>
                <a:off x="7866310" y="5826464"/>
                <a:ext cx="53044" cy="131497"/>
              </a:xfrm>
              <a:custGeom>
                <a:avLst/>
                <a:gdLst>
                  <a:gd name="connsiteX0" fmla="*/ 927517 w 970206"/>
                  <a:gd name="connsiteY0" fmla="*/ 2401225 h 2405196"/>
                  <a:gd name="connsiteX1" fmla="*/ 927517 w 970206"/>
                  <a:gd name="connsiteY1" fmla="*/ 2401225 h 2405196"/>
                  <a:gd name="connsiteX2" fmla="*/ 843694 w 970206"/>
                  <a:gd name="connsiteY2" fmla="*/ 2363125 h 2405196"/>
                  <a:gd name="connsiteX3" fmla="*/ 3973 w 970206"/>
                  <a:gd name="connsiteY3" fmla="*/ 87790 h 2405196"/>
                  <a:gd name="connsiteX4" fmla="*/ 42073 w 970206"/>
                  <a:gd name="connsiteY4" fmla="*/ 3971 h 2405196"/>
                  <a:gd name="connsiteX5" fmla="*/ 42073 w 970206"/>
                  <a:gd name="connsiteY5" fmla="*/ 3971 h 2405196"/>
                  <a:gd name="connsiteX6" fmla="*/ 125891 w 970206"/>
                  <a:gd name="connsiteY6" fmla="*/ 42071 h 2405196"/>
                  <a:gd name="connsiteX7" fmla="*/ 965617 w 970206"/>
                  <a:gd name="connsiteY7" fmla="*/ 2317402 h 2405196"/>
                  <a:gd name="connsiteX8" fmla="*/ 927517 w 970206"/>
                  <a:gd name="connsiteY8" fmla="*/ 2401225 h 240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206" h="2405196">
                    <a:moveTo>
                      <a:pt x="927517" y="2401225"/>
                    </a:moveTo>
                    <a:lnTo>
                      <a:pt x="927517" y="2401225"/>
                    </a:lnTo>
                    <a:cubicBezTo>
                      <a:pt x="893989" y="2413415"/>
                      <a:pt x="855889" y="2396653"/>
                      <a:pt x="843694" y="2363125"/>
                    </a:cubicBezTo>
                    <a:lnTo>
                      <a:pt x="3973" y="87790"/>
                    </a:lnTo>
                    <a:cubicBezTo>
                      <a:pt x="-8221" y="54261"/>
                      <a:pt x="8545" y="16161"/>
                      <a:pt x="42073" y="3971"/>
                    </a:cubicBezTo>
                    <a:lnTo>
                      <a:pt x="42073" y="3971"/>
                    </a:lnTo>
                    <a:cubicBezTo>
                      <a:pt x="75601" y="-8219"/>
                      <a:pt x="113701" y="8543"/>
                      <a:pt x="125891" y="42071"/>
                    </a:cubicBezTo>
                    <a:lnTo>
                      <a:pt x="965617" y="2317402"/>
                    </a:lnTo>
                    <a:cubicBezTo>
                      <a:pt x="979332" y="2352456"/>
                      <a:pt x="961045" y="2389031"/>
                      <a:pt x="927517" y="2401225"/>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89" name="Graphic 2">
                <a:extLst>
                  <a:ext uri="{FF2B5EF4-FFF2-40B4-BE49-F238E27FC236}">
                    <a16:creationId xmlns:a16="http://schemas.microsoft.com/office/drawing/2014/main" id="{20196A34-5A32-4236-89F3-3705EF513E76}"/>
                  </a:ext>
                </a:extLst>
              </p:cNvPr>
              <p:cNvSpPr/>
              <p:nvPr/>
            </p:nvSpPr>
            <p:spPr>
              <a:xfrm>
                <a:off x="7866810" y="5826297"/>
                <a:ext cx="53044" cy="131497"/>
              </a:xfrm>
              <a:custGeom>
                <a:avLst/>
                <a:gdLst>
                  <a:gd name="connsiteX0" fmla="*/ 927517 w 970206"/>
                  <a:gd name="connsiteY0" fmla="*/ 2401222 h 2405195"/>
                  <a:gd name="connsiteX1" fmla="*/ 927517 w 970206"/>
                  <a:gd name="connsiteY1" fmla="*/ 2401222 h 2405195"/>
                  <a:gd name="connsiteX2" fmla="*/ 843699 w 970206"/>
                  <a:gd name="connsiteY2" fmla="*/ 2363122 h 2405195"/>
                  <a:gd name="connsiteX3" fmla="*/ 3973 w 970206"/>
                  <a:gd name="connsiteY3" fmla="*/ 87791 h 2405195"/>
                  <a:gd name="connsiteX4" fmla="*/ 42073 w 970206"/>
                  <a:gd name="connsiteY4" fmla="*/ 3973 h 2405195"/>
                  <a:gd name="connsiteX5" fmla="*/ 42073 w 970206"/>
                  <a:gd name="connsiteY5" fmla="*/ 3973 h 2405195"/>
                  <a:gd name="connsiteX6" fmla="*/ 125891 w 970206"/>
                  <a:gd name="connsiteY6" fmla="*/ 42073 h 2405195"/>
                  <a:gd name="connsiteX7" fmla="*/ 965617 w 970206"/>
                  <a:gd name="connsiteY7" fmla="*/ 2317404 h 2405195"/>
                  <a:gd name="connsiteX8" fmla="*/ 927517 w 970206"/>
                  <a:gd name="connsiteY8" fmla="*/ 2401222 h 24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0206" h="2405195">
                    <a:moveTo>
                      <a:pt x="927517" y="2401222"/>
                    </a:moveTo>
                    <a:lnTo>
                      <a:pt x="927517" y="2401222"/>
                    </a:lnTo>
                    <a:cubicBezTo>
                      <a:pt x="893989" y="2413417"/>
                      <a:pt x="855889" y="2396651"/>
                      <a:pt x="843699" y="2363122"/>
                    </a:cubicBezTo>
                    <a:lnTo>
                      <a:pt x="3973" y="87791"/>
                    </a:lnTo>
                    <a:cubicBezTo>
                      <a:pt x="-8221" y="54263"/>
                      <a:pt x="8545" y="16163"/>
                      <a:pt x="42073" y="3973"/>
                    </a:cubicBezTo>
                    <a:lnTo>
                      <a:pt x="42073" y="3973"/>
                    </a:lnTo>
                    <a:cubicBezTo>
                      <a:pt x="75601" y="-8221"/>
                      <a:pt x="113701" y="8545"/>
                      <a:pt x="125891" y="42073"/>
                    </a:cubicBezTo>
                    <a:lnTo>
                      <a:pt x="965617" y="2317404"/>
                    </a:lnTo>
                    <a:cubicBezTo>
                      <a:pt x="979332" y="2352458"/>
                      <a:pt x="961045" y="2389032"/>
                      <a:pt x="927517" y="2401222"/>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90" name="Graphic 2">
                <a:extLst>
                  <a:ext uri="{FF2B5EF4-FFF2-40B4-BE49-F238E27FC236}">
                    <a16:creationId xmlns:a16="http://schemas.microsoft.com/office/drawing/2014/main" id="{7997D751-7A58-41C2-85B8-F7E94242BBA9}"/>
                  </a:ext>
                </a:extLst>
              </p:cNvPr>
              <p:cNvSpPr/>
              <p:nvPr/>
            </p:nvSpPr>
            <p:spPr>
              <a:xfrm>
                <a:off x="8014325" y="5788590"/>
                <a:ext cx="20940" cy="139005"/>
              </a:xfrm>
              <a:custGeom>
                <a:avLst/>
                <a:gdLst>
                  <a:gd name="connsiteX0" fmla="*/ 58156 w 383012"/>
                  <a:gd name="connsiteY0" fmla="*/ 2542279 h 2542522"/>
                  <a:gd name="connsiteX1" fmla="*/ 58156 w 383012"/>
                  <a:gd name="connsiteY1" fmla="*/ 2542279 h 2542522"/>
                  <a:gd name="connsiteX2" fmla="*/ 243 w 383012"/>
                  <a:gd name="connsiteY2" fmla="*/ 2470651 h 2542522"/>
                  <a:gd name="connsiteX3" fmla="*/ 253228 w 383012"/>
                  <a:gd name="connsiteY3" fmla="*/ 58156 h 2542522"/>
                  <a:gd name="connsiteX4" fmla="*/ 324856 w 383012"/>
                  <a:gd name="connsiteY4" fmla="*/ 243 h 2542522"/>
                  <a:gd name="connsiteX5" fmla="*/ 324856 w 383012"/>
                  <a:gd name="connsiteY5" fmla="*/ 243 h 2542522"/>
                  <a:gd name="connsiteX6" fmla="*/ 382769 w 383012"/>
                  <a:gd name="connsiteY6" fmla="*/ 71872 h 2542522"/>
                  <a:gd name="connsiteX7" fmla="*/ 129784 w 383012"/>
                  <a:gd name="connsiteY7" fmla="*/ 2484366 h 2542522"/>
                  <a:gd name="connsiteX8" fmla="*/ 58156 w 383012"/>
                  <a:gd name="connsiteY8" fmla="*/ 2542279 h 254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12" h="2542522">
                    <a:moveTo>
                      <a:pt x="58156" y="2542279"/>
                    </a:moveTo>
                    <a:lnTo>
                      <a:pt x="58156" y="2542279"/>
                    </a:lnTo>
                    <a:cubicBezTo>
                      <a:pt x="23102" y="2539228"/>
                      <a:pt x="-2803" y="2507225"/>
                      <a:pt x="243" y="2470651"/>
                    </a:cubicBezTo>
                    <a:lnTo>
                      <a:pt x="253228" y="58156"/>
                    </a:lnTo>
                    <a:cubicBezTo>
                      <a:pt x="256274" y="23102"/>
                      <a:pt x="288282" y="-2803"/>
                      <a:pt x="324856" y="243"/>
                    </a:cubicBezTo>
                    <a:lnTo>
                      <a:pt x="324856" y="243"/>
                    </a:lnTo>
                    <a:cubicBezTo>
                      <a:pt x="359910" y="3294"/>
                      <a:pt x="385815" y="35297"/>
                      <a:pt x="382769" y="71872"/>
                    </a:cubicBezTo>
                    <a:lnTo>
                      <a:pt x="129784" y="2484366"/>
                    </a:lnTo>
                    <a:cubicBezTo>
                      <a:pt x="125212" y="2519415"/>
                      <a:pt x="93210" y="2545325"/>
                      <a:pt x="58156" y="2542279"/>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91" name="Graphic 2">
                <a:extLst>
                  <a:ext uri="{FF2B5EF4-FFF2-40B4-BE49-F238E27FC236}">
                    <a16:creationId xmlns:a16="http://schemas.microsoft.com/office/drawing/2014/main" id="{A61AB659-14CA-4EDA-B5E4-8DC4907F60D4}"/>
                  </a:ext>
                </a:extLst>
              </p:cNvPr>
              <p:cNvSpPr/>
              <p:nvPr/>
            </p:nvSpPr>
            <p:spPr>
              <a:xfrm>
                <a:off x="8014825" y="5788590"/>
                <a:ext cx="20940" cy="139020"/>
              </a:xfrm>
              <a:custGeom>
                <a:avLst/>
                <a:gdLst>
                  <a:gd name="connsiteX0" fmla="*/ 58156 w 383012"/>
                  <a:gd name="connsiteY0" fmla="*/ 2542279 h 2542802"/>
                  <a:gd name="connsiteX1" fmla="*/ 58156 w 383012"/>
                  <a:gd name="connsiteY1" fmla="*/ 2542279 h 2542802"/>
                  <a:gd name="connsiteX2" fmla="*/ 243 w 383012"/>
                  <a:gd name="connsiteY2" fmla="*/ 2470651 h 2542802"/>
                  <a:gd name="connsiteX3" fmla="*/ 253228 w 383012"/>
                  <a:gd name="connsiteY3" fmla="*/ 58156 h 2542802"/>
                  <a:gd name="connsiteX4" fmla="*/ 324856 w 383012"/>
                  <a:gd name="connsiteY4" fmla="*/ 243 h 2542802"/>
                  <a:gd name="connsiteX5" fmla="*/ 324856 w 383012"/>
                  <a:gd name="connsiteY5" fmla="*/ 243 h 2542802"/>
                  <a:gd name="connsiteX6" fmla="*/ 382769 w 383012"/>
                  <a:gd name="connsiteY6" fmla="*/ 71872 h 2542802"/>
                  <a:gd name="connsiteX7" fmla="*/ 129784 w 383012"/>
                  <a:gd name="connsiteY7" fmla="*/ 2485887 h 2542802"/>
                  <a:gd name="connsiteX8" fmla="*/ 58156 w 383012"/>
                  <a:gd name="connsiteY8" fmla="*/ 2542279 h 2542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012" h="2542802">
                    <a:moveTo>
                      <a:pt x="58156" y="2542279"/>
                    </a:moveTo>
                    <a:lnTo>
                      <a:pt x="58156" y="2542279"/>
                    </a:lnTo>
                    <a:cubicBezTo>
                      <a:pt x="23102" y="2539228"/>
                      <a:pt x="-2803" y="2507225"/>
                      <a:pt x="243" y="2470651"/>
                    </a:cubicBezTo>
                    <a:lnTo>
                      <a:pt x="253228" y="58156"/>
                    </a:lnTo>
                    <a:cubicBezTo>
                      <a:pt x="256274" y="23102"/>
                      <a:pt x="288282" y="-2803"/>
                      <a:pt x="324856" y="243"/>
                    </a:cubicBezTo>
                    <a:lnTo>
                      <a:pt x="324856" y="243"/>
                    </a:lnTo>
                    <a:cubicBezTo>
                      <a:pt x="359910" y="3294"/>
                      <a:pt x="385815" y="35297"/>
                      <a:pt x="382769" y="71872"/>
                    </a:cubicBezTo>
                    <a:lnTo>
                      <a:pt x="129784" y="2485887"/>
                    </a:lnTo>
                    <a:cubicBezTo>
                      <a:pt x="126738" y="2520941"/>
                      <a:pt x="93210" y="2546851"/>
                      <a:pt x="58156" y="2542279"/>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92" name="Graphic 2">
                <a:extLst>
                  <a:ext uri="{FF2B5EF4-FFF2-40B4-BE49-F238E27FC236}">
                    <a16:creationId xmlns:a16="http://schemas.microsoft.com/office/drawing/2014/main" id="{F78B81C9-6FB4-4049-9959-59627069E09F}"/>
                  </a:ext>
                </a:extLst>
              </p:cNvPr>
              <p:cNvSpPr/>
              <p:nvPr/>
            </p:nvSpPr>
            <p:spPr>
              <a:xfrm>
                <a:off x="7836865" y="5941163"/>
                <a:ext cx="426020" cy="114315"/>
              </a:xfrm>
              <a:custGeom>
                <a:avLst/>
                <a:gdLst>
                  <a:gd name="connsiteX0" fmla="*/ 0 w 7792212"/>
                  <a:gd name="connsiteY0" fmla="*/ 0 h 2090928"/>
                  <a:gd name="connsiteX1" fmla="*/ 0 w 7792212"/>
                  <a:gd name="connsiteY1" fmla="*/ 894592 h 2090928"/>
                  <a:gd name="connsiteX2" fmla="*/ 3073906 w 7792212"/>
                  <a:gd name="connsiteY2" fmla="*/ 2090928 h 2090928"/>
                  <a:gd name="connsiteX3" fmla="*/ 7792213 w 7792212"/>
                  <a:gd name="connsiteY3" fmla="*/ 1205485 h 2090928"/>
                  <a:gd name="connsiteX4" fmla="*/ 7763257 w 7792212"/>
                  <a:gd name="connsiteY4" fmla="*/ 553213 h 2090928"/>
                  <a:gd name="connsiteX5" fmla="*/ 3122675 w 7792212"/>
                  <a:gd name="connsiteY5" fmla="*/ 1427992 h 2090928"/>
                  <a:gd name="connsiteX6" fmla="*/ 0 w 7792212"/>
                  <a:gd name="connsiteY6" fmla="*/ 0 h 2090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2212" h="2090928">
                    <a:moveTo>
                      <a:pt x="0" y="0"/>
                    </a:moveTo>
                    <a:lnTo>
                      <a:pt x="0" y="894592"/>
                    </a:lnTo>
                    <a:lnTo>
                      <a:pt x="3073906" y="2090928"/>
                    </a:lnTo>
                    <a:lnTo>
                      <a:pt x="7792213" y="1205485"/>
                    </a:lnTo>
                    <a:lnTo>
                      <a:pt x="7763257" y="553213"/>
                    </a:lnTo>
                    <a:lnTo>
                      <a:pt x="3122675" y="1427992"/>
                    </a:lnTo>
                    <a:cubicBezTo>
                      <a:pt x="3122675" y="1429513"/>
                      <a:pt x="2343913" y="272797"/>
                      <a:pt x="0" y="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93" name="Graphic 2">
                <a:extLst>
                  <a:ext uri="{FF2B5EF4-FFF2-40B4-BE49-F238E27FC236}">
                    <a16:creationId xmlns:a16="http://schemas.microsoft.com/office/drawing/2014/main" id="{10FC7F13-F5E6-482B-B743-A312F3B53EAF}"/>
                  </a:ext>
                </a:extLst>
              </p:cNvPr>
              <p:cNvSpPr/>
              <p:nvPr/>
            </p:nvSpPr>
            <p:spPr>
              <a:xfrm>
                <a:off x="7836865" y="5902836"/>
                <a:ext cx="424353" cy="116482"/>
              </a:xfrm>
              <a:custGeom>
                <a:avLst/>
                <a:gdLst>
                  <a:gd name="connsiteX0" fmla="*/ 0 w 7761730"/>
                  <a:gd name="connsiteY0" fmla="*/ 701036 h 2130549"/>
                  <a:gd name="connsiteX1" fmla="*/ 4873749 w 7761730"/>
                  <a:gd name="connsiteY1" fmla="*/ 0 h 2130549"/>
                  <a:gd name="connsiteX2" fmla="*/ 5846062 w 7761730"/>
                  <a:gd name="connsiteY2" fmla="*/ 451103 h 2130549"/>
                  <a:gd name="connsiteX3" fmla="*/ 6332218 w 7761730"/>
                  <a:gd name="connsiteY3" fmla="*/ 652272 h 2130549"/>
                  <a:gd name="connsiteX4" fmla="*/ 7761731 w 7761730"/>
                  <a:gd name="connsiteY4" fmla="*/ 1255775 h 2130549"/>
                  <a:gd name="connsiteX5" fmla="*/ 3121149 w 7761730"/>
                  <a:gd name="connsiteY5" fmla="*/ 2130549 h 2130549"/>
                  <a:gd name="connsiteX6" fmla="*/ 1652016 w 7761730"/>
                  <a:gd name="connsiteY6" fmla="*/ 1478277 h 2130549"/>
                  <a:gd name="connsiteX7" fmla="*/ 1126234 w 7761730"/>
                  <a:gd name="connsiteY7" fmla="*/ 1216149 h 2130549"/>
                  <a:gd name="connsiteX8" fmla="*/ 0 w 7761730"/>
                  <a:gd name="connsiteY8" fmla="*/ 701036 h 213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61730" h="2130549">
                    <a:moveTo>
                      <a:pt x="0" y="701036"/>
                    </a:moveTo>
                    <a:lnTo>
                      <a:pt x="4873749" y="0"/>
                    </a:lnTo>
                    <a:cubicBezTo>
                      <a:pt x="4873749" y="0"/>
                      <a:pt x="5535165" y="91436"/>
                      <a:pt x="5846062" y="451103"/>
                    </a:cubicBezTo>
                    <a:cubicBezTo>
                      <a:pt x="5846062" y="451103"/>
                      <a:pt x="6012177" y="626362"/>
                      <a:pt x="6332218" y="652272"/>
                    </a:cubicBezTo>
                    <a:cubicBezTo>
                      <a:pt x="6332218" y="652272"/>
                      <a:pt x="7304531" y="896108"/>
                      <a:pt x="7761731" y="1255775"/>
                    </a:cubicBezTo>
                    <a:lnTo>
                      <a:pt x="3121149" y="2130549"/>
                    </a:lnTo>
                    <a:cubicBezTo>
                      <a:pt x="3121149" y="2130549"/>
                      <a:pt x="1944621" y="1469134"/>
                      <a:pt x="1652016" y="1478277"/>
                    </a:cubicBezTo>
                    <a:cubicBezTo>
                      <a:pt x="1360931" y="1487421"/>
                      <a:pt x="1126234" y="1216149"/>
                      <a:pt x="1126234" y="1216149"/>
                    </a:cubicBezTo>
                    <a:cubicBezTo>
                      <a:pt x="1126234" y="1216149"/>
                      <a:pt x="437387" y="807718"/>
                      <a:pt x="0" y="701036"/>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nvGrpSpPr>
              <p:cNvPr id="794" name="Group 793">
                <a:extLst>
                  <a:ext uri="{FF2B5EF4-FFF2-40B4-BE49-F238E27FC236}">
                    <a16:creationId xmlns:a16="http://schemas.microsoft.com/office/drawing/2014/main" id="{76835A98-2919-4EE1-8B9A-9F841C1BB856}"/>
                  </a:ext>
                </a:extLst>
              </p:cNvPr>
              <p:cNvGrpSpPr/>
              <p:nvPr/>
            </p:nvGrpSpPr>
            <p:grpSpPr>
              <a:xfrm>
                <a:off x="8863667" y="4845333"/>
                <a:ext cx="399835" cy="369751"/>
                <a:chOff x="8863667" y="4845333"/>
                <a:chExt cx="399835" cy="369751"/>
              </a:xfrm>
            </p:grpSpPr>
            <p:sp>
              <p:nvSpPr>
                <p:cNvPr id="1887" name="Graphic 2">
                  <a:extLst>
                    <a:ext uri="{FF2B5EF4-FFF2-40B4-BE49-F238E27FC236}">
                      <a16:creationId xmlns:a16="http://schemas.microsoft.com/office/drawing/2014/main" id="{D2C5D11E-C40B-48A3-B01A-31D58254C20A}"/>
                    </a:ext>
                  </a:extLst>
                </p:cNvPr>
                <p:cNvSpPr/>
                <p:nvPr/>
              </p:nvSpPr>
              <p:spPr>
                <a:xfrm>
                  <a:off x="8981696" y="4845333"/>
                  <a:ext cx="264142" cy="319125"/>
                </a:xfrm>
                <a:custGeom>
                  <a:avLst/>
                  <a:gdLst>
                    <a:gd name="connsiteX0" fmla="*/ 5446775 w 5446774"/>
                    <a:gd name="connsiteY0" fmla="*/ 978349 h 6580574"/>
                    <a:gd name="connsiteX1" fmla="*/ 2043682 w 5446774"/>
                    <a:gd name="connsiteY1" fmla="*/ 24323 h 6580574"/>
                    <a:gd name="connsiteX2" fmla="*/ 1764790 w 5446774"/>
                    <a:gd name="connsiteY2" fmla="*/ 7561 h 6580574"/>
                    <a:gd name="connsiteX3" fmla="*/ 537972 w 5446774"/>
                    <a:gd name="connsiteY3" fmla="*/ 195015 h 6580574"/>
                    <a:gd name="connsiteX4" fmla="*/ 0 w 5446774"/>
                    <a:gd name="connsiteY4" fmla="*/ 822902 h 6580574"/>
                    <a:gd name="connsiteX5" fmla="*/ 0 w 5446774"/>
                    <a:gd name="connsiteY5" fmla="*/ 5705795 h 6580574"/>
                    <a:gd name="connsiteX6" fmla="*/ 4105654 w 5446774"/>
                    <a:gd name="connsiteY6" fmla="*/ 6580574 h 6580574"/>
                    <a:gd name="connsiteX7" fmla="*/ 5446775 w 5446774"/>
                    <a:gd name="connsiteY7" fmla="*/ 978349 h 6580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6774" h="6580574">
                      <a:moveTo>
                        <a:pt x="5446775" y="978349"/>
                      </a:moveTo>
                      <a:lnTo>
                        <a:pt x="2043682" y="24323"/>
                      </a:lnTo>
                      <a:cubicBezTo>
                        <a:pt x="1953767" y="-1582"/>
                        <a:pt x="1857754" y="-6154"/>
                        <a:pt x="1764790" y="7561"/>
                      </a:cubicBezTo>
                      <a:lnTo>
                        <a:pt x="537972" y="195015"/>
                      </a:lnTo>
                      <a:cubicBezTo>
                        <a:pt x="228600" y="242259"/>
                        <a:pt x="0" y="508959"/>
                        <a:pt x="0" y="822902"/>
                      </a:cubicBezTo>
                      <a:lnTo>
                        <a:pt x="0" y="5705795"/>
                      </a:lnTo>
                      <a:lnTo>
                        <a:pt x="4105654" y="6580574"/>
                      </a:lnTo>
                      <a:lnTo>
                        <a:pt x="5446775" y="978349"/>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8" name="Graphic 2">
                  <a:extLst>
                    <a:ext uri="{FF2B5EF4-FFF2-40B4-BE49-F238E27FC236}">
                      <a16:creationId xmlns:a16="http://schemas.microsoft.com/office/drawing/2014/main" id="{1A466416-0507-4642-BE61-B076463DD9A8}"/>
                    </a:ext>
                  </a:extLst>
                </p:cNvPr>
                <p:cNvSpPr/>
                <p:nvPr/>
              </p:nvSpPr>
              <p:spPr>
                <a:xfrm>
                  <a:off x="9164393" y="4891963"/>
                  <a:ext cx="99109" cy="273466"/>
                </a:xfrm>
                <a:custGeom>
                  <a:avLst/>
                  <a:gdLst>
                    <a:gd name="connsiteX0" fmla="*/ 0 w 2043682"/>
                    <a:gd name="connsiteY0" fmla="*/ 728513 h 5639044"/>
                    <a:gd name="connsiteX1" fmla="*/ 0 w 2043682"/>
                    <a:gd name="connsiteY1" fmla="*/ 5160303 h 5639044"/>
                    <a:gd name="connsiteX2" fmla="*/ 609600 w 2043682"/>
                    <a:gd name="connsiteY2" fmla="*/ 5620549 h 5639044"/>
                    <a:gd name="connsiteX3" fmla="*/ 1696210 w 2043682"/>
                    <a:gd name="connsiteY3" fmla="*/ 5309657 h 5639044"/>
                    <a:gd name="connsiteX4" fmla="*/ 2043682 w 2043682"/>
                    <a:gd name="connsiteY4" fmla="*/ 4849406 h 5639044"/>
                    <a:gd name="connsiteX5" fmla="*/ 2043682 w 2043682"/>
                    <a:gd name="connsiteY5" fmla="*/ 478575 h 5639044"/>
                    <a:gd name="connsiteX6" fmla="*/ 1458467 w 2043682"/>
                    <a:gd name="connsiteY6" fmla="*/ 12231 h 5639044"/>
                    <a:gd name="connsiteX7" fmla="*/ 371854 w 2043682"/>
                    <a:gd name="connsiteY7" fmla="*/ 260644 h 5639044"/>
                    <a:gd name="connsiteX8" fmla="*/ 0 w 2043682"/>
                    <a:gd name="connsiteY8" fmla="*/ 728513 h 563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3682" h="5639044">
                      <a:moveTo>
                        <a:pt x="0" y="728513"/>
                      </a:moveTo>
                      <a:lnTo>
                        <a:pt x="0" y="5160303"/>
                      </a:lnTo>
                      <a:cubicBezTo>
                        <a:pt x="0" y="5477298"/>
                        <a:pt x="304800" y="5707418"/>
                        <a:pt x="609600" y="5620549"/>
                      </a:cubicBezTo>
                      <a:lnTo>
                        <a:pt x="1696210" y="5309657"/>
                      </a:lnTo>
                      <a:cubicBezTo>
                        <a:pt x="1901951" y="5251744"/>
                        <a:pt x="2043682" y="5062769"/>
                        <a:pt x="2043682" y="4849406"/>
                      </a:cubicBezTo>
                      <a:lnTo>
                        <a:pt x="2043682" y="478575"/>
                      </a:lnTo>
                      <a:cubicBezTo>
                        <a:pt x="2043682" y="172249"/>
                        <a:pt x="1758695" y="-56351"/>
                        <a:pt x="1458467" y="12231"/>
                      </a:cubicBezTo>
                      <a:lnTo>
                        <a:pt x="371854" y="260644"/>
                      </a:lnTo>
                      <a:cubicBezTo>
                        <a:pt x="155446" y="312459"/>
                        <a:pt x="0" y="506005"/>
                        <a:pt x="0" y="728513"/>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9" name="Graphic 2">
                  <a:extLst>
                    <a:ext uri="{FF2B5EF4-FFF2-40B4-BE49-F238E27FC236}">
                      <a16:creationId xmlns:a16="http://schemas.microsoft.com/office/drawing/2014/main" id="{5B64F53B-EDF1-41A5-9DD4-4CBC81770EC9}"/>
                    </a:ext>
                  </a:extLst>
                </p:cNvPr>
                <p:cNvSpPr/>
                <p:nvPr/>
              </p:nvSpPr>
              <p:spPr>
                <a:xfrm>
                  <a:off x="8925822" y="5169779"/>
                  <a:ext cx="150326" cy="41535"/>
                </a:xfrm>
                <a:custGeom>
                  <a:avLst/>
                  <a:gdLst>
                    <a:gd name="connsiteX0" fmla="*/ 0 w 3099817"/>
                    <a:gd name="connsiteY0" fmla="*/ 509015 h 856487"/>
                    <a:gd name="connsiteX1" fmla="*/ 2113790 w 3099817"/>
                    <a:gd name="connsiteY1" fmla="*/ 0 h 856487"/>
                    <a:gd name="connsiteX2" fmla="*/ 3099818 w 3099817"/>
                    <a:gd name="connsiteY2" fmla="*/ 339849 h 856487"/>
                    <a:gd name="connsiteX3" fmla="*/ 923546 w 3099817"/>
                    <a:gd name="connsiteY3" fmla="*/ 856487 h 856487"/>
                  </a:gdLst>
                  <a:ahLst/>
                  <a:cxnLst>
                    <a:cxn ang="0">
                      <a:pos x="connsiteX0" y="connsiteY0"/>
                    </a:cxn>
                    <a:cxn ang="0">
                      <a:pos x="connsiteX1" y="connsiteY1"/>
                    </a:cxn>
                    <a:cxn ang="0">
                      <a:pos x="connsiteX2" y="connsiteY2"/>
                    </a:cxn>
                    <a:cxn ang="0">
                      <a:pos x="connsiteX3" y="connsiteY3"/>
                    </a:cxn>
                  </a:cxnLst>
                  <a:rect l="l" t="t" r="r" b="b"/>
                  <a:pathLst>
                    <a:path w="3099817" h="856487">
                      <a:moveTo>
                        <a:pt x="0" y="509015"/>
                      </a:moveTo>
                      <a:lnTo>
                        <a:pt x="2113790" y="0"/>
                      </a:lnTo>
                      <a:lnTo>
                        <a:pt x="3099818" y="339849"/>
                      </a:lnTo>
                      <a:lnTo>
                        <a:pt x="923546" y="856487"/>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0" name="Graphic 2">
                  <a:extLst>
                    <a:ext uri="{FF2B5EF4-FFF2-40B4-BE49-F238E27FC236}">
                      <a16:creationId xmlns:a16="http://schemas.microsoft.com/office/drawing/2014/main" id="{CB6623B9-5404-4368-A047-CE186EEBD5CE}"/>
                    </a:ext>
                  </a:extLst>
                </p:cNvPr>
                <p:cNvSpPr/>
                <p:nvPr/>
              </p:nvSpPr>
              <p:spPr>
                <a:xfrm>
                  <a:off x="8925822" y="5186260"/>
                  <a:ext cx="150326" cy="28824"/>
                </a:xfrm>
                <a:custGeom>
                  <a:avLst/>
                  <a:gdLst>
                    <a:gd name="connsiteX0" fmla="*/ 0 w 3099817"/>
                    <a:gd name="connsiteY0" fmla="*/ 169166 h 594363"/>
                    <a:gd name="connsiteX1" fmla="*/ 0 w 3099817"/>
                    <a:gd name="connsiteY1" fmla="*/ 246892 h 594363"/>
                    <a:gd name="connsiteX2" fmla="*/ 923546 w 3099817"/>
                    <a:gd name="connsiteY2" fmla="*/ 594364 h 594363"/>
                    <a:gd name="connsiteX3" fmla="*/ 3099818 w 3099817"/>
                    <a:gd name="connsiteY3" fmla="*/ 77725 h 594363"/>
                    <a:gd name="connsiteX4" fmla="*/ 3099818 w 3099817"/>
                    <a:gd name="connsiteY4" fmla="*/ 0 h 594363"/>
                    <a:gd name="connsiteX5" fmla="*/ 923546 w 3099817"/>
                    <a:gd name="connsiteY5" fmla="*/ 516638 h 59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99817" h="594363">
                      <a:moveTo>
                        <a:pt x="0" y="169166"/>
                      </a:moveTo>
                      <a:lnTo>
                        <a:pt x="0" y="246892"/>
                      </a:lnTo>
                      <a:lnTo>
                        <a:pt x="923546" y="594364"/>
                      </a:lnTo>
                      <a:lnTo>
                        <a:pt x="3099818" y="77725"/>
                      </a:lnTo>
                      <a:lnTo>
                        <a:pt x="3099818" y="0"/>
                      </a:lnTo>
                      <a:lnTo>
                        <a:pt x="923546" y="516638"/>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1" name="Graphic 2">
                  <a:extLst>
                    <a:ext uri="{FF2B5EF4-FFF2-40B4-BE49-F238E27FC236}">
                      <a16:creationId xmlns:a16="http://schemas.microsoft.com/office/drawing/2014/main" id="{A6C587E8-5C78-4246-A0C3-FC0DB5EF680F}"/>
                    </a:ext>
                  </a:extLst>
                </p:cNvPr>
                <p:cNvSpPr/>
                <p:nvPr/>
              </p:nvSpPr>
              <p:spPr>
                <a:xfrm>
                  <a:off x="8977409" y="5153668"/>
                  <a:ext cx="53434" cy="42127"/>
                </a:xfrm>
                <a:custGeom>
                  <a:avLst/>
                  <a:gdLst>
                    <a:gd name="connsiteX0" fmla="*/ 0 w 1101851"/>
                    <a:gd name="connsiteY0" fmla="*/ 298703 h 868677"/>
                    <a:gd name="connsiteX1" fmla="*/ 0 w 1101851"/>
                    <a:gd name="connsiteY1" fmla="*/ 868677 h 868677"/>
                    <a:gd name="connsiteX2" fmla="*/ 1101851 w 1101851"/>
                    <a:gd name="connsiteY2" fmla="*/ 609600 h 868677"/>
                    <a:gd name="connsiteX3" fmla="*/ 1101851 w 1101851"/>
                    <a:gd name="connsiteY3" fmla="*/ 0 h 868677"/>
                  </a:gdLst>
                  <a:ahLst/>
                  <a:cxnLst>
                    <a:cxn ang="0">
                      <a:pos x="connsiteX0" y="connsiteY0"/>
                    </a:cxn>
                    <a:cxn ang="0">
                      <a:pos x="connsiteX1" y="connsiteY1"/>
                    </a:cxn>
                    <a:cxn ang="0">
                      <a:pos x="connsiteX2" y="connsiteY2"/>
                    </a:cxn>
                    <a:cxn ang="0">
                      <a:pos x="connsiteX3" y="connsiteY3"/>
                    </a:cxn>
                  </a:cxnLst>
                  <a:rect l="l" t="t" r="r" b="b"/>
                  <a:pathLst>
                    <a:path w="1101851" h="868677">
                      <a:moveTo>
                        <a:pt x="0" y="298703"/>
                      </a:moveTo>
                      <a:lnTo>
                        <a:pt x="0" y="868677"/>
                      </a:lnTo>
                      <a:lnTo>
                        <a:pt x="1101851" y="609600"/>
                      </a:lnTo>
                      <a:lnTo>
                        <a:pt x="1101851" y="0"/>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2" name="Graphic 2">
                  <a:extLst>
                    <a:ext uri="{FF2B5EF4-FFF2-40B4-BE49-F238E27FC236}">
                      <a16:creationId xmlns:a16="http://schemas.microsoft.com/office/drawing/2014/main" id="{6899DBE2-4683-4FE0-B74E-907058D09DD0}"/>
                    </a:ext>
                  </a:extLst>
                </p:cNvPr>
                <p:cNvSpPr/>
                <p:nvPr/>
              </p:nvSpPr>
              <p:spPr>
                <a:xfrm>
                  <a:off x="8960928" y="5164384"/>
                  <a:ext cx="16481" cy="31410"/>
                </a:xfrm>
                <a:custGeom>
                  <a:avLst/>
                  <a:gdLst>
                    <a:gd name="connsiteX0" fmla="*/ 4574 w 339853"/>
                    <a:gd name="connsiteY0" fmla="*/ 0 h 647700"/>
                    <a:gd name="connsiteX1" fmla="*/ 0 w 339853"/>
                    <a:gd name="connsiteY1" fmla="*/ 518159 h 647700"/>
                    <a:gd name="connsiteX2" fmla="*/ 339854 w 339853"/>
                    <a:gd name="connsiteY2" fmla="*/ 647700 h 647700"/>
                    <a:gd name="connsiteX3" fmla="*/ 339854 w 339853"/>
                    <a:gd name="connsiteY3" fmla="*/ 77725 h 647700"/>
                  </a:gdLst>
                  <a:ahLst/>
                  <a:cxnLst>
                    <a:cxn ang="0">
                      <a:pos x="connsiteX0" y="connsiteY0"/>
                    </a:cxn>
                    <a:cxn ang="0">
                      <a:pos x="connsiteX1" y="connsiteY1"/>
                    </a:cxn>
                    <a:cxn ang="0">
                      <a:pos x="connsiteX2" y="connsiteY2"/>
                    </a:cxn>
                    <a:cxn ang="0">
                      <a:pos x="connsiteX3" y="connsiteY3"/>
                    </a:cxn>
                  </a:cxnLst>
                  <a:rect l="l" t="t" r="r" b="b"/>
                  <a:pathLst>
                    <a:path w="339853" h="647700">
                      <a:moveTo>
                        <a:pt x="4574" y="0"/>
                      </a:moveTo>
                      <a:lnTo>
                        <a:pt x="0" y="518159"/>
                      </a:lnTo>
                      <a:lnTo>
                        <a:pt x="339854" y="647700"/>
                      </a:lnTo>
                      <a:lnTo>
                        <a:pt x="339854" y="77725"/>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3" name="Graphic 2">
                  <a:extLst>
                    <a:ext uri="{FF2B5EF4-FFF2-40B4-BE49-F238E27FC236}">
                      <a16:creationId xmlns:a16="http://schemas.microsoft.com/office/drawing/2014/main" id="{D0E1F85D-115E-4E40-8AB5-430A508E436C}"/>
                    </a:ext>
                  </a:extLst>
                </p:cNvPr>
                <p:cNvSpPr/>
                <p:nvPr/>
              </p:nvSpPr>
              <p:spPr>
                <a:xfrm>
                  <a:off x="8878818" y="4924262"/>
                  <a:ext cx="245296" cy="268872"/>
                </a:xfrm>
                <a:custGeom>
                  <a:avLst/>
                  <a:gdLst>
                    <a:gd name="connsiteX0" fmla="*/ 18290 w 5058156"/>
                    <a:gd name="connsiteY0" fmla="*/ 914400 h 5544312"/>
                    <a:gd name="connsiteX1" fmla="*/ 5058157 w 5058156"/>
                    <a:gd name="connsiteY1" fmla="*/ 0 h 5544312"/>
                    <a:gd name="connsiteX2" fmla="*/ 5055110 w 5058156"/>
                    <a:gd name="connsiteY2" fmla="*/ 4276344 h 5544312"/>
                    <a:gd name="connsiteX3" fmla="*/ 0 w 5058156"/>
                    <a:gd name="connsiteY3" fmla="*/ 5544313 h 5544312"/>
                  </a:gdLst>
                  <a:ahLst/>
                  <a:cxnLst>
                    <a:cxn ang="0">
                      <a:pos x="connsiteX0" y="connsiteY0"/>
                    </a:cxn>
                    <a:cxn ang="0">
                      <a:pos x="connsiteX1" y="connsiteY1"/>
                    </a:cxn>
                    <a:cxn ang="0">
                      <a:pos x="connsiteX2" y="connsiteY2"/>
                    </a:cxn>
                    <a:cxn ang="0">
                      <a:pos x="connsiteX3" y="connsiteY3"/>
                    </a:cxn>
                  </a:cxnLst>
                  <a:rect l="l" t="t" r="r" b="b"/>
                  <a:pathLst>
                    <a:path w="5058156" h="5544312">
                      <a:moveTo>
                        <a:pt x="18290" y="914400"/>
                      </a:moveTo>
                      <a:lnTo>
                        <a:pt x="5058157" y="0"/>
                      </a:lnTo>
                      <a:lnTo>
                        <a:pt x="5055110" y="4276344"/>
                      </a:lnTo>
                      <a:lnTo>
                        <a:pt x="0" y="5544313"/>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4" name="Graphic 2">
                  <a:extLst>
                    <a:ext uri="{FF2B5EF4-FFF2-40B4-BE49-F238E27FC236}">
                      <a16:creationId xmlns:a16="http://schemas.microsoft.com/office/drawing/2014/main" id="{448D67BA-2CAE-4724-A247-5EF69FA51BEB}"/>
                    </a:ext>
                  </a:extLst>
                </p:cNvPr>
                <p:cNvSpPr/>
                <p:nvPr/>
              </p:nvSpPr>
              <p:spPr>
                <a:xfrm>
                  <a:off x="8893895" y="4940152"/>
                  <a:ext cx="215438" cy="235761"/>
                </a:xfrm>
                <a:custGeom>
                  <a:avLst/>
                  <a:gdLst>
                    <a:gd name="connsiteX0" fmla="*/ 16764 w 4442459"/>
                    <a:gd name="connsiteY0" fmla="*/ 801626 h 4861559"/>
                    <a:gd name="connsiteX1" fmla="*/ 4434841 w 4442459"/>
                    <a:gd name="connsiteY1" fmla="*/ 0 h 4861559"/>
                    <a:gd name="connsiteX2" fmla="*/ 4442459 w 4442459"/>
                    <a:gd name="connsiteY2" fmla="*/ 3790187 h 4861559"/>
                    <a:gd name="connsiteX3" fmla="*/ 0 w 4442459"/>
                    <a:gd name="connsiteY3" fmla="*/ 4861559 h 4861559"/>
                  </a:gdLst>
                  <a:ahLst/>
                  <a:cxnLst>
                    <a:cxn ang="0">
                      <a:pos x="connsiteX0" y="connsiteY0"/>
                    </a:cxn>
                    <a:cxn ang="0">
                      <a:pos x="connsiteX1" y="connsiteY1"/>
                    </a:cxn>
                    <a:cxn ang="0">
                      <a:pos x="connsiteX2" y="connsiteY2"/>
                    </a:cxn>
                    <a:cxn ang="0">
                      <a:pos x="connsiteX3" y="connsiteY3"/>
                    </a:cxn>
                  </a:cxnLst>
                  <a:rect l="l" t="t" r="r" b="b"/>
                  <a:pathLst>
                    <a:path w="4442459" h="4861559">
                      <a:moveTo>
                        <a:pt x="16764" y="801626"/>
                      </a:moveTo>
                      <a:lnTo>
                        <a:pt x="4434841" y="0"/>
                      </a:lnTo>
                      <a:lnTo>
                        <a:pt x="4442459" y="3790187"/>
                      </a:lnTo>
                      <a:lnTo>
                        <a:pt x="0" y="4861559"/>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5" name="Graphic 2">
                  <a:extLst>
                    <a:ext uri="{FF2B5EF4-FFF2-40B4-BE49-F238E27FC236}">
                      <a16:creationId xmlns:a16="http://schemas.microsoft.com/office/drawing/2014/main" id="{C0812532-9F92-43BD-91AC-E4A898463312}"/>
                    </a:ext>
                  </a:extLst>
                </p:cNvPr>
                <p:cNvSpPr/>
                <p:nvPr/>
              </p:nvSpPr>
              <p:spPr>
                <a:xfrm>
                  <a:off x="8863667" y="4920493"/>
                  <a:ext cx="260447" cy="272641"/>
                </a:xfrm>
                <a:custGeom>
                  <a:avLst/>
                  <a:gdLst>
                    <a:gd name="connsiteX0" fmla="*/ 5370575 w 5370574"/>
                    <a:gd name="connsiteY0" fmla="*/ 77725 h 5622038"/>
                    <a:gd name="connsiteX1" fmla="*/ 5058157 w 5370574"/>
                    <a:gd name="connsiteY1" fmla="*/ 0 h 5622038"/>
                    <a:gd name="connsiteX2" fmla="*/ 19810 w 5370574"/>
                    <a:gd name="connsiteY2" fmla="*/ 914400 h 5622038"/>
                    <a:gd name="connsiteX3" fmla="*/ 0 w 5370574"/>
                    <a:gd name="connsiteY3" fmla="*/ 5492498 h 5622038"/>
                    <a:gd name="connsiteX4" fmla="*/ 312418 w 5370574"/>
                    <a:gd name="connsiteY4" fmla="*/ 5622038 h 5622038"/>
                    <a:gd name="connsiteX5" fmla="*/ 330708 w 5370574"/>
                    <a:gd name="connsiteY5" fmla="*/ 992126 h 562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70574" h="5622038">
                      <a:moveTo>
                        <a:pt x="5370575" y="77725"/>
                      </a:moveTo>
                      <a:lnTo>
                        <a:pt x="5058157" y="0"/>
                      </a:lnTo>
                      <a:lnTo>
                        <a:pt x="19810" y="914400"/>
                      </a:lnTo>
                      <a:lnTo>
                        <a:pt x="0" y="5492498"/>
                      </a:lnTo>
                      <a:lnTo>
                        <a:pt x="312418" y="5622038"/>
                      </a:lnTo>
                      <a:lnTo>
                        <a:pt x="330708" y="992126"/>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6" name="Graphic 2">
                  <a:extLst>
                    <a:ext uri="{FF2B5EF4-FFF2-40B4-BE49-F238E27FC236}">
                      <a16:creationId xmlns:a16="http://schemas.microsoft.com/office/drawing/2014/main" id="{01B40E31-8CF6-426F-96B9-425C76A36AB0}"/>
                    </a:ext>
                  </a:extLst>
                </p:cNvPr>
                <p:cNvSpPr/>
                <p:nvPr/>
              </p:nvSpPr>
              <p:spPr>
                <a:xfrm>
                  <a:off x="9184383" y="5124992"/>
                  <a:ext cx="71064" cy="29563"/>
                </a:xfrm>
                <a:custGeom>
                  <a:avLst/>
                  <a:gdLst>
                    <a:gd name="connsiteX0" fmla="*/ 808 w 1465390"/>
                    <a:gd name="connsiteY0" fmla="*/ 609600 h 609600"/>
                    <a:gd name="connsiteX1" fmla="*/ 227885 w 1465390"/>
                    <a:gd name="connsiteY1" fmla="*/ 298703 h 609600"/>
                    <a:gd name="connsiteX2" fmla="*/ 1465372 w 1465390"/>
                    <a:gd name="connsiteY2" fmla="*/ 0 h 609600"/>
                    <a:gd name="connsiteX3" fmla="*/ 1465372 w 1465390"/>
                    <a:gd name="connsiteY3" fmla="*/ 10664 h 609600"/>
                    <a:gd name="connsiteX4" fmla="*/ 1239821 w 1465390"/>
                    <a:gd name="connsiteY4" fmla="*/ 301749 h 609600"/>
                    <a:gd name="connsiteX5" fmla="*/ 808 w 1465390"/>
                    <a:gd name="connsiteY5" fmla="*/ 609600 h 609600"/>
                    <a:gd name="connsiteX6" fmla="*/ 808 w 1465390"/>
                    <a:gd name="connsiteY6" fmla="*/ 60960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5390" h="609600">
                      <a:moveTo>
                        <a:pt x="808" y="609600"/>
                      </a:moveTo>
                      <a:cubicBezTo>
                        <a:pt x="-9859" y="464818"/>
                        <a:pt x="86151" y="332231"/>
                        <a:pt x="227885" y="298703"/>
                      </a:cubicBezTo>
                      <a:lnTo>
                        <a:pt x="1465372" y="0"/>
                      </a:lnTo>
                      <a:lnTo>
                        <a:pt x="1465372" y="10664"/>
                      </a:lnTo>
                      <a:cubicBezTo>
                        <a:pt x="1466895" y="147828"/>
                        <a:pt x="1373931" y="269746"/>
                        <a:pt x="1239821" y="301749"/>
                      </a:cubicBezTo>
                      <a:lnTo>
                        <a:pt x="808" y="609600"/>
                      </a:lnTo>
                      <a:cubicBezTo>
                        <a:pt x="808" y="609600"/>
                        <a:pt x="808" y="609600"/>
                        <a:pt x="808" y="609600"/>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7" name="Graphic 2">
                  <a:extLst>
                    <a:ext uri="{FF2B5EF4-FFF2-40B4-BE49-F238E27FC236}">
                      <a16:creationId xmlns:a16="http://schemas.microsoft.com/office/drawing/2014/main" id="{1A72182A-8EB5-4898-A4CA-116F96ED3684}"/>
                    </a:ext>
                  </a:extLst>
                </p:cNvPr>
                <p:cNvSpPr/>
                <p:nvPr/>
              </p:nvSpPr>
              <p:spPr>
                <a:xfrm>
                  <a:off x="9182870" y="4945473"/>
                  <a:ext cx="67033" cy="27419"/>
                </a:xfrm>
                <a:custGeom>
                  <a:avLst/>
                  <a:gdLst>
                    <a:gd name="connsiteX0" fmla="*/ 1382267 w 1382266"/>
                    <a:gd name="connsiteY0" fmla="*/ 237744 h 565402"/>
                    <a:gd name="connsiteX1" fmla="*/ 1382267 w 1382266"/>
                    <a:gd name="connsiteY1" fmla="*/ 0 h 565402"/>
                    <a:gd name="connsiteX2" fmla="*/ 0 w 1382266"/>
                    <a:gd name="connsiteY2" fmla="*/ 318515 h 565402"/>
                    <a:gd name="connsiteX3" fmla="*/ 0 w 1382266"/>
                    <a:gd name="connsiteY3" fmla="*/ 565403 h 565402"/>
                  </a:gdLst>
                  <a:ahLst/>
                  <a:cxnLst>
                    <a:cxn ang="0">
                      <a:pos x="connsiteX0" y="connsiteY0"/>
                    </a:cxn>
                    <a:cxn ang="0">
                      <a:pos x="connsiteX1" y="connsiteY1"/>
                    </a:cxn>
                    <a:cxn ang="0">
                      <a:pos x="connsiteX2" y="connsiteY2"/>
                    </a:cxn>
                    <a:cxn ang="0">
                      <a:pos x="connsiteX3" y="connsiteY3"/>
                    </a:cxn>
                  </a:cxnLst>
                  <a:rect l="l" t="t" r="r" b="b"/>
                  <a:pathLst>
                    <a:path w="1382266" h="565402">
                      <a:moveTo>
                        <a:pt x="1382267" y="237744"/>
                      </a:moveTo>
                      <a:lnTo>
                        <a:pt x="1382267" y="0"/>
                      </a:lnTo>
                      <a:lnTo>
                        <a:pt x="0" y="318515"/>
                      </a:lnTo>
                      <a:lnTo>
                        <a:pt x="0" y="565403"/>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8" name="Graphic 2">
                  <a:extLst>
                    <a:ext uri="{FF2B5EF4-FFF2-40B4-BE49-F238E27FC236}">
                      <a16:creationId xmlns:a16="http://schemas.microsoft.com/office/drawing/2014/main" id="{CA967127-6C1A-4439-92DA-B46E99A710A3}"/>
                    </a:ext>
                  </a:extLst>
                </p:cNvPr>
                <p:cNvSpPr/>
                <p:nvPr/>
              </p:nvSpPr>
              <p:spPr>
                <a:xfrm>
                  <a:off x="9182870" y="4984570"/>
                  <a:ext cx="67033" cy="27493"/>
                </a:xfrm>
                <a:custGeom>
                  <a:avLst/>
                  <a:gdLst>
                    <a:gd name="connsiteX0" fmla="*/ 0 w 1382266"/>
                    <a:gd name="connsiteY0" fmla="*/ 566928 h 566928"/>
                    <a:gd name="connsiteX1" fmla="*/ 1382267 w 1382266"/>
                    <a:gd name="connsiteY1" fmla="*/ 237744 h 566928"/>
                    <a:gd name="connsiteX2" fmla="*/ 1382267 w 1382266"/>
                    <a:gd name="connsiteY2" fmla="*/ 0 h 566928"/>
                    <a:gd name="connsiteX3" fmla="*/ 0 w 1382266"/>
                    <a:gd name="connsiteY3" fmla="*/ 318515 h 566928"/>
                  </a:gdLst>
                  <a:ahLst/>
                  <a:cxnLst>
                    <a:cxn ang="0">
                      <a:pos x="connsiteX0" y="connsiteY0"/>
                    </a:cxn>
                    <a:cxn ang="0">
                      <a:pos x="connsiteX1" y="connsiteY1"/>
                    </a:cxn>
                    <a:cxn ang="0">
                      <a:pos x="connsiteX2" y="connsiteY2"/>
                    </a:cxn>
                    <a:cxn ang="0">
                      <a:pos x="connsiteX3" y="connsiteY3"/>
                    </a:cxn>
                  </a:cxnLst>
                  <a:rect l="l" t="t" r="r" b="b"/>
                  <a:pathLst>
                    <a:path w="1382266" h="566928">
                      <a:moveTo>
                        <a:pt x="0" y="566928"/>
                      </a:moveTo>
                      <a:lnTo>
                        <a:pt x="1382267" y="237744"/>
                      </a:lnTo>
                      <a:lnTo>
                        <a:pt x="1382267" y="0"/>
                      </a:lnTo>
                      <a:lnTo>
                        <a:pt x="0" y="318515"/>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99" name="Graphic 2">
                  <a:extLst>
                    <a:ext uri="{FF2B5EF4-FFF2-40B4-BE49-F238E27FC236}">
                      <a16:creationId xmlns:a16="http://schemas.microsoft.com/office/drawing/2014/main" id="{4AF83993-CC32-4700-8210-3D968534CD4F}"/>
                    </a:ext>
                  </a:extLst>
                </p:cNvPr>
                <p:cNvSpPr/>
                <p:nvPr/>
              </p:nvSpPr>
              <p:spPr>
                <a:xfrm>
                  <a:off x="9179544" y="5004968"/>
                  <a:ext cx="74424" cy="130001"/>
                </a:xfrm>
                <a:custGeom>
                  <a:avLst/>
                  <a:gdLst>
                    <a:gd name="connsiteX0" fmla="*/ 1534669 w 1534669"/>
                    <a:gd name="connsiteY0" fmla="*/ 0 h 2680715"/>
                    <a:gd name="connsiteX1" fmla="*/ 0 w 1534669"/>
                    <a:gd name="connsiteY1" fmla="*/ 353569 h 2680715"/>
                    <a:gd name="connsiteX2" fmla="*/ 0 w 1534669"/>
                    <a:gd name="connsiteY2" fmla="*/ 2680716 h 2680715"/>
                    <a:gd name="connsiteX3" fmla="*/ 1534669 w 1534669"/>
                    <a:gd name="connsiteY3" fmla="*/ 2316482 h 2680715"/>
                  </a:gdLst>
                  <a:ahLst/>
                  <a:cxnLst>
                    <a:cxn ang="0">
                      <a:pos x="connsiteX0" y="connsiteY0"/>
                    </a:cxn>
                    <a:cxn ang="0">
                      <a:pos x="connsiteX1" y="connsiteY1"/>
                    </a:cxn>
                    <a:cxn ang="0">
                      <a:pos x="connsiteX2" y="connsiteY2"/>
                    </a:cxn>
                    <a:cxn ang="0">
                      <a:pos x="connsiteX3" y="connsiteY3"/>
                    </a:cxn>
                  </a:cxnLst>
                  <a:rect l="l" t="t" r="r" b="b"/>
                  <a:pathLst>
                    <a:path w="1534669" h="2680715">
                      <a:moveTo>
                        <a:pt x="1534669" y="0"/>
                      </a:moveTo>
                      <a:lnTo>
                        <a:pt x="0" y="353569"/>
                      </a:lnTo>
                      <a:lnTo>
                        <a:pt x="0" y="2680716"/>
                      </a:lnTo>
                      <a:lnTo>
                        <a:pt x="1534669" y="2316482"/>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900" name="Graphic 2">
                  <a:extLst>
                    <a:ext uri="{FF2B5EF4-FFF2-40B4-BE49-F238E27FC236}">
                      <a16:creationId xmlns:a16="http://schemas.microsoft.com/office/drawing/2014/main" id="{71DDDB35-4FC2-41F4-A684-ACDD0A12B644}"/>
                    </a:ext>
                  </a:extLst>
                </p:cNvPr>
                <p:cNvSpPr/>
                <p:nvPr/>
              </p:nvSpPr>
              <p:spPr>
                <a:xfrm>
                  <a:off x="9182870" y="5016054"/>
                  <a:ext cx="67033" cy="27419"/>
                </a:xfrm>
                <a:custGeom>
                  <a:avLst/>
                  <a:gdLst>
                    <a:gd name="connsiteX0" fmla="*/ 0 w 1382266"/>
                    <a:gd name="connsiteY0" fmla="*/ 318515 h 565407"/>
                    <a:gd name="connsiteX1" fmla="*/ 0 w 1382266"/>
                    <a:gd name="connsiteY1" fmla="*/ 565407 h 565407"/>
                    <a:gd name="connsiteX2" fmla="*/ 1382267 w 1382266"/>
                    <a:gd name="connsiteY2" fmla="*/ 237744 h 565407"/>
                    <a:gd name="connsiteX3" fmla="*/ 1382267 w 1382266"/>
                    <a:gd name="connsiteY3" fmla="*/ 0 h 565407"/>
                  </a:gdLst>
                  <a:ahLst/>
                  <a:cxnLst>
                    <a:cxn ang="0">
                      <a:pos x="connsiteX0" y="connsiteY0"/>
                    </a:cxn>
                    <a:cxn ang="0">
                      <a:pos x="connsiteX1" y="connsiteY1"/>
                    </a:cxn>
                    <a:cxn ang="0">
                      <a:pos x="connsiteX2" y="connsiteY2"/>
                    </a:cxn>
                    <a:cxn ang="0">
                      <a:pos x="connsiteX3" y="connsiteY3"/>
                    </a:cxn>
                  </a:cxnLst>
                  <a:rect l="l" t="t" r="r" b="b"/>
                  <a:pathLst>
                    <a:path w="1382266" h="565407">
                      <a:moveTo>
                        <a:pt x="0" y="318515"/>
                      </a:moveTo>
                      <a:lnTo>
                        <a:pt x="0" y="565407"/>
                      </a:lnTo>
                      <a:lnTo>
                        <a:pt x="1382267" y="237744"/>
                      </a:lnTo>
                      <a:lnTo>
                        <a:pt x="1382267" y="0"/>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sp>
            <p:nvSpPr>
              <p:cNvPr id="795" name="Freeform: Shape 794">
                <a:extLst>
                  <a:ext uri="{FF2B5EF4-FFF2-40B4-BE49-F238E27FC236}">
                    <a16:creationId xmlns:a16="http://schemas.microsoft.com/office/drawing/2014/main" id="{DDDC6451-BE8D-43D1-BB67-EC9E0D0E2413}"/>
                  </a:ext>
                </a:extLst>
              </p:cNvPr>
              <p:cNvSpPr/>
              <p:nvPr/>
            </p:nvSpPr>
            <p:spPr>
              <a:xfrm>
                <a:off x="5257800" y="3822990"/>
                <a:ext cx="563350" cy="296106"/>
              </a:xfrm>
              <a:custGeom>
                <a:avLst/>
                <a:gdLst>
                  <a:gd name="connsiteX0" fmla="*/ 0 w 600075"/>
                  <a:gd name="connsiteY0" fmla="*/ 204788 h 204788"/>
                  <a:gd name="connsiteX1" fmla="*/ 600075 w 600075"/>
                  <a:gd name="connsiteY1" fmla="*/ 204788 h 204788"/>
                  <a:gd name="connsiteX2" fmla="*/ 600075 w 600075"/>
                  <a:gd name="connsiteY2" fmla="*/ 0 h 204788"/>
                </a:gdLst>
                <a:ahLst/>
                <a:cxnLst>
                  <a:cxn ang="0">
                    <a:pos x="connsiteX0" y="connsiteY0"/>
                  </a:cxn>
                  <a:cxn ang="0">
                    <a:pos x="connsiteX1" y="connsiteY1"/>
                  </a:cxn>
                  <a:cxn ang="0">
                    <a:pos x="connsiteX2" y="connsiteY2"/>
                  </a:cxn>
                </a:cxnLst>
                <a:rect l="l" t="t" r="r" b="b"/>
                <a:pathLst>
                  <a:path w="600075" h="204788">
                    <a:moveTo>
                      <a:pt x="0" y="204788"/>
                    </a:moveTo>
                    <a:lnTo>
                      <a:pt x="600075" y="204788"/>
                    </a:lnTo>
                    <a:lnTo>
                      <a:pt x="600075" y="0"/>
                    </a:lnTo>
                  </a:path>
                </a:pathLst>
              </a:custGeom>
              <a:noFill/>
              <a:ln w="6350" cap="flat">
                <a:solidFill>
                  <a:schemeClr val="accent6"/>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0">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796" name="Freeform: Shape 795">
                <a:extLst>
                  <a:ext uri="{FF2B5EF4-FFF2-40B4-BE49-F238E27FC236}">
                    <a16:creationId xmlns:a16="http://schemas.microsoft.com/office/drawing/2014/main" id="{296F42F9-0B4C-4695-ABA0-E61C84FFF9D3}"/>
                  </a:ext>
                </a:extLst>
              </p:cNvPr>
              <p:cNvSpPr/>
              <p:nvPr/>
            </p:nvSpPr>
            <p:spPr>
              <a:xfrm flipH="1" flipV="1">
                <a:off x="5057774" y="3796989"/>
                <a:ext cx="651486" cy="176307"/>
              </a:xfrm>
              <a:custGeom>
                <a:avLst/>
                <a:gdLst>
                  <a:gd name="connsiteX0" fmla="*/ 0 w 600075"/>
                  <a:gd name="connsiteY0" fmla="*/ 204788 h 204788"/>
                  <a:gd name="connsiteX1" fmla="*/ 600075 w 600075"/>
                  <a:gd name="connsiteY1" fmla="*/ 204788 h 204788"/>
                  <a:gd name="connsiteX2" fmla="*/ 600075 w 600075"/>
                  <a:gd name="connsiteY2" fmla="*/ 0 h 204788"/>
                </a:gdLst>
                <a:ahLst/>
                <a:cxnLst>
                  <a:cxn ang="0">
                    <a:pos x="connsiteX0" y="connsiteY0"/>
                  </a:cxn>
                  <a:cxn ang="0">
                    <a:pos x="connsiteX1" y="connsiteY1"/>
                  </a:cxn>
                  <a:cxn ang="0">
                    <a:pos x="connsiteX2" y="connsiteY2"/>
                  </a:cxn>
                </a:cxnLst>
                <a:rect l="l" t="t" r="r" b="b"/>
                <a:pathLst>
                  <a:path w="600075" h="204788">
                    <a:moveTo>
                      <a:pt x="0" y="204788"/>
                    </a:moveTo>
                    <a:lnTo>
                      <a:pt x="600075" y="204788"/>
                    </a:lnTo>
                    <a:lnTo>
                      <a:pt x="600075" y="0"/>
                    </a:lnTo>
                  </a:path>
                </a:pathLst>
              </a:cu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0">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cxnSp>
            <p:nvCxnSpPr>
              <p:cNvPr id="797" name="Straight Arrow Connector 796">
                <a:extLst>
                  <a:ext uri="{FF2B5EF4-FFF2-40B4-BE49-F238E27FC236}">
                    <a16:creationId xmlns:a16="http://schemas.microsoft.com/office/drawing/2014/main" id="{403C600F-9678-4AE3-B9C0-555AA4F4DB9D}"/>
                  </a:ext>
                </a:extLst>
              </p:cNvPr>
              <p:cNvCxnSpPr>
                <a:cxnSpLocks/>
              </p:cNvCxnSpPr>
              <p:nvPr/>
            </p:nvCxnSpPr>
            <p:spPr>
              <a:xfrm rot="5400000" flipH="1">
                <a:off x="4169888" y="5556869"/>
                <a:ext cx="0" cy="532311"/>
              </a:xfrm>
              <a:prstGeom prst="straightConnector1">
                <a:avLst/>
              </a:pr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cxnSp>
          <p:cxnSp>
            <p:nvCxnSpPr>
              <p:cNvPr id="798" name="Straight Arrow Connector 797">
                <a:extLst>
                  <a:ext uri="{FF2B5EF4-FFF2-40B4-BE49-F238E27FC236}">
                    <a16:creationId xmlns:a16="http://schemas.microsoft.com/office/drawing/2014/main" id="{0B921C08-CC79-4585-94AA-AACD7693958B}"/>
                  </a:ext>
                </a:extLst>
              </p:cNvPr>
              <p:cNvCxnSpPr>
                <a:cxnSpLocks/>
              </p:cNvCxnSpPr>
              <p:nvPr/>
            </p:nvCxnSpPr>
            <p:spPr>
              <a:xfrm rot="16200000" flipV="1">
                <a:off x="4169888" y="5858835"/>
                <a:ext cx="0" cy="532311"/>
              </a:xfrm>
              <a:prstGeom prst="straightConnector1">
                <a:avLst/>
              </a:prstGeom>
              <a:noFill/>
              <a:ln w="6350" cap="flat">
                <a:solidFill>
                  <a:schemeClr val="accent6"/>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cxnSp>
          <p:sp>
            <p:nvSpPr>
              <p:cNvPr id="799" name="Freeform: Shape 798">
                <a:extLst>
                  <a:ext uri="{FF2B5EF4-FFF2-40B4-BE49-F238E27FC236}">
                    <a16:creationId xmlns:a16="http://schemas.microsoft.com/office/drawing/2014/main" id="{C10EDA07-F449-47AD-B849-8E8A1400FBD4}"/>
                  </a:ext>
                </a:extLst>
              </p:cNvPr>
              <p:cNvSpPr/>
              <p:nvPr/>
            </p:nvSpPr>
            <p:spPr>
              <a:xfrm>
                <a:off x="4209530" y="3502020"/>
                <a:ext cx="1367500" cy="241305"/>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00" name="Freeform: Shape 799">
                <a:extLst>
                  <a:ext uri="{FF2B5EF4-FFF2-40B4-BE49-F238E27FC236}">
                    <a16:creationId xmlns:a16="http://schemas.microsoft.com/office/drawing/2014/main" id="{3EF5155B-2D4F-4EB2-B26A-3E44751AC59B}"/>
                  </a:ext>
                </a:extLst>
              </p:cNvPr>
              <p:cNvSpPr/>
              <p:nvPr/>
            </p:nvSpPr>
            <p:spPr>
              <a:xfrm>
                <a:off x="4209530" y="3502020"/>
                <a:ext cx="1367500" cy="346080"/>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chemeClr val="accent6"/>
                </a:solidFill>
                <a:prstDash val="dash"/>
                <a:miter lim="400000"/>
                <a:headEnd type="none" w="med" len="sm"/>
                <a:tailEnd type="triangl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01" name="Freeform: Shape 800">
                <a:extLst>
                  <a:ext uri="{FF2B5EF4-FFF2-40B4-BE49-F238E27FC236}">
                    <a16:creationId xmlns:a16="http://schemas.microsoft.com/office/drawing/2014/main" id="{A59DADBA-4AF5-4AC1-80CB-CDBFB236E6C7}"/>
                  </a:ext>
                </a:extLst>
              </p:cNvPr>
              <p:cNvSpPr/>
              <p:nvPr/>
            </p:nvSpPr>
            <p:spPr>
              <a:xfrm>
                <a:off x="4209530" y="3628601"/>
                <a:ext cx="1367500" cy="958385"/>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02" name="Freeform: Shape 801">
                <a:extLst>
                  <a:ext uri="{FF2B5EF4-FFF2-40B4-BE49-F238E27FC236}">
                    <a16:creationId xmlns:a16="http://schemas.microsoft.com/office/drawing/2014/main" id="{E8F106F3-A0CD-497D-8544-B3C796D9B3D3}"/>
                  </a:ext>
                </a:extLst>
              </p:cNvPr>
              <p:cNvSpPr/>
              <p:nvPr/>
            </p:nvSpPr>
            <p:spPr>
              <a:xfrm>
                <a:off x="6667568" y="2990851"/>
                <a:ext cx="1010570" cy="1250950"/>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chemeClr val="accent6"/>
                </a:solidFill>
                <a:prstDash val="dash"/>
                <a:miter lim="400000"/>
                <a:headEnd type="none" w="med" len="sm"/>
                <a:tailEnd type="triangl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03" name="Freeform: Shape 802">
                <a:extLst>
                  <a:ext uri="{FF2B5EF4-FFF2-40B4-BE49-F238E27FC236}">
                    <a16:creationId xmlns:a16="http://schemas.microsoft.com/office/drawing/2014/main" id="{4AA991D8-AF2B-43A5-9A5D-34FFDEFCDAE9}"/>
                  </a:ext>
                </a:extLst>
              </p:cNvPr>
              <p:cNvSpPr/>
              <p:nvPr/>
            </p:nvSpPr>
            <p:spPr>
              <a:xfrm>
                <a:off x="6737144" y="3067052"/>
                <a:ext cx="959056" cy="1250957"/>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04" name="Freeform: Shape 803">
                <a:extLst>
                  <a:ext uri="{FF2B5EF4-FFF2-40B4-BE49-F238E27FC236}">
                    <a16:creationId xmlns:a16="http://schemas.microsoft.com/office/drawing/2014/main" id="{DC19BD86-3B3C-44A1-9D15-7E3693102EF8}"/>
                  </a:ext>
                </a:extLst>
              </p:cNvPr>
              <p:cNvSpPr/>
              <p:nvPr/>
            </p:nvSpPr>
            <p:spPr>
              <a:xfrm flipV="1">
                <a:off x="6674348" y="4537069"/>
                <a:ext cx="1002386" cy="574681"/>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chemeClr val="accent6"/>
                </a:solidFill>
                <a:prstDash val="dash"/>
                <a:miter lim="400000"/>
                <a:headEnd type="none" w="med" len="sm"/>
                <a:tailEnd type="triangl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05" name="Freeform: Shape 804">
                <a:extLst>
                  <a:ext uri="{FF2B5EF4-FFF2-40B4-BE49-F238E27FC236}">
                    <a16:creationId xmlns:a16="http://schemas.microsoft.com/office/drawing/2014/main" id="{1CAC20E7-2DFE-453F-B2A8-0B61D228B95B}"/>
                  </a:ext>
                </a:extLst>
              </p:cNvPr>
              <p:cNvSpPr/>
              <p:nvPr/>
            </p:nvSpPr>
            <p:spPr>
              <a:xfrm flipV="1">
                <a:off x="6738331" y="4433271"/>
                <a:ext cx="956464" cy="553128"/>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812" name="TextBox 811">
                <a:extLst>
                  <a:ext uri="{FF2B5EF4-FFF2-40B4-BE49-F238E27FC236}">
                    <a16:creationId xmlns:a16="http://schemas.microsoft.com/office/drawing/2014/main" id="{8EF71659-B436-45CE-A0A8-F612ECB5C759}"/>
                  </a:ext>
                </a:extLst>
              </p:cNvPr>
              <p:cNvSpPr txBox="1"/>
              <p:nvPr/>
            </p:nvSpPr>
            <p:spPr>
              <a:xfrm>
                <a:off x="3767852" y="2666300"/>
                <a:ext cx="285522"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VM 1</a:t>
                </a:r>
              </a:p>
            </p:txBody>
          </p:sp>
          <p:sp>
            <p:nvSpPr>
              <p:cNvPr id="813" name="TextBox 812">
                <a:extLst>
                  <a:ext uri="{FF2B5EF4-FFF2-40B4-BE49-F238E27FC236}">
                    <a16:creationId xmlns:a16="http://schemas.microsoft.com/office/drawing/2014/main" id="{60014468-6064-4DA0-9FD7-7D68BEC29C5A}"/>
                  </a:ext>
                </a:extLst>
              </p:cNvPr>
              <p:cNvSpPr txBox="1"/>
              <p:nvPr/>
            </p:nvSpPr>
            <p:spPr>
              <a:xfrm>
                <a:off x="5642089" y="3041335"/>
                <a:ext cx="733054"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Data Center</a:t>
                </a:r>
              </a:p>
            </p:txBody>
          </p:sp>
          <p:sp>
            <p:nvSpPr>
              <p:cNvPr id="814" name="TextBox 813">
                <a:extLst>
                  <a:ext uri="{FF2B5EF4-FFF2-40B4-BE49-F238E27FC236}">
                    <a16:creationId xmlns:a16="http://schemas.microsoft.com/office/drawing/2014/main" id="{1B78A889-69B7-4063-B4F0-636422797F0A}"/>
                  </a:ext>
                </a:extLst>
              </p:cNvPr>
              <p:cNvSpPr txBox="1"/>
              <p:nvPr/>
            </p:nvSpPr>
            <p:spPr>
              <a:xfrm>
                <a:off x="8641339" y="2657022"/>
                <a:ext cx="844493" cy="3079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S</a:t>
                </a: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ecurity </a:t>
                </a:r>
                <a:b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b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Client</a:t>
                </a:r>
              </a:p>
            </p:txBody>
          </p:sp>
          <p:sp>
            <p:nvSpPr>
              <p:cNvPr id="815" name="TextBox 814">
                <a:extLst>
                  <a:ext uri="{FF2B5EF4-FFF2-40B4-BE49-F238E27FC236}">
                    <a16:creationId xmlns:a16="http://schemas.microsoft.com/office/drawing/2014/main" id="{131B5861-44D2-407D-A6E7-55B1D659D6E2}"/>
                  </a:ext>
                </a:extLst>
              </p:cNvPr>
              <p:cNvSpPr txBox="1"/>
              <p:nvPr/>
            </p:nvSpPr>
            <p:spPr>
              <a:xfrm>
                <a:off x="3767852" y="3463619"/>
                <a:ext cx="320811"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VM 2</a:t>
                </a:r>
              </a:p>
            </p:txBody>
          </p:sp>
          <p:sp>
            <p:nvSpPr>
              <p:cNvPr id="816" name="TextBox 815">
                <a:extLst>
                  <a:ext uri="{FF2B5EF4-FFF2-40B4-BE49-F238E27FC236}">
                    <a16:creationId xmlns:a16="http://schemas.microsoft.com/office/drawing/2014/main" id="{A9F03C72-54A7-4A13-A417-A31CC682FD1D}"/>
                  </a:ext>
                </a:extLst>
              </p:cNvPr>
              <p:cNvSpPr txBox="1"/>
              <p:nvPr/>
            </p:nvSpPr>
            <p:spPr>
              <a:xfrm>
                <a:off x="3767852" y="4283797"/>
                <a:ext cx="322415"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VM 3</a:t>
                </a:r>
              </a:p>
            </p:txBody>
          </p:sp>
          <p:sp>
            <p:nvSpPr>
              <p:cNvPr id="822" name="TextBox 821">
                <a:extLst>
                  <a:ext uri="{FF2B5EF4-FFF2-40B4-BE49-F238E27FC236}">
                    <a16:creationId xmlns:a16="http://schemas.microsoft.com/office/drawing/2014/main" id="{C146A66E-CB28-41A3-AFD3-81C51BB36A82}"/>
                  </a:ext>
                </a:extLst>
              </p:cNvPr>
              <p:cNvSpPr txBox="1"/>
              <p:nvPr/>
            </p:nvSpPr>
            <p:spPr>
              <a:xfrm>
                <a:off x="3832859" y="5584397"/>
                <a:ext cx="911103"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Receiving Data</a:t>
                </a:r>
              </a:p>
            </p:txBody>
          </p:sp>
          <p:sp>
            <p:nvSpPr>
              <p:cNvPr id="1026" name="TextBox 1025">
                <a:extLst>
                  <a:ext uri="{FF2B5EF4-FFF2-40B4-BE49-F238E27FC236}">
                    <a16:creationId xmlns:a16="http://schemas.microsoft.com/office/drawing/2014/main" id="{A1C2944D-575A-4756-B5DC-A1CAEAD73273}"/>
                  </a:ext>
                </a:extLst>
              </p:cNvPr>
              <p:cNvSpPr txBox="1"/>
              <p:nvPr/>
            </p:nvSpPr>
            <p:spPr>
              <a:xfrm>
                <a:off x="3832859" y="5886363"/>
                <a:ext cx="818067"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Sending Data</a:t>
                </a:r>
              </a:p>
            </p:txBody>
          </p:sp>
          <p:sp>
            <p:nvSpPr>
              <p:cNvPr id="1513" name="TextBox 1512">
                <a:extLst>
                  <a:ext uri="{FF2B5EF4-FFF2-40B4-BE49-F238E27FC236}">
                    <a16:creationId xmlns:a16="http://schemas.microsoft.com/office/drawing/2014/main" id="{27F3CD4E-B6B7-4B34-8845-B34D50095B48}"/>
                  </a:ext>
                </a:extLst>
              </p:cNvPr>
              <p:cNvSpPr txBox="1"/>
              <p:nvPr/>
            </p:nvSpPr>
            <p:spPr>
              <a:xfrm>
                <a:off x="7563720" y="3326639"/>
                <a:ext cx="956017"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CCTV Cameras</a:t>
                </a:r>
              </a:p>
            </p:txBody>
          </p:sp>
          <p:sp>
            <p:nvSpPr>
              <p:cNvPr id="1514" name="TextBox 1513">
                <a:extLst>
                  <a:ext uri="{FF2B5EF4-FFF2-40B4-BE49-F238E27FC236}">
                    <a16:creationId xmlns:a16="http://schemas.microsoft.com/office/drawing/2014/main" id="{C3ECEE09-415B-4C92-B246-D8EFB31017D6}"/>
                  </a:ext>
                </a:extLst>
              </p:cNvPr>
              <p:cNvSpPr txBox="1"/>
              <p:nvPr/>
            </p:nvSpPr>
            <p:spPr>
              <a:xfrm>
                <a:off x="7656450" y="4148432"/>
                <a:ext cx="760321"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Internet Link</a:t>
                </a:r>
              </a:p>
            </p:txBody>
          </p:sp>
          <p:sp>
            <p:nvSpPr>
              <p:cNvPr id="1515" name="TextBox 1514">
                <a:extLst>
                  <a:ext uri="{FF2B5EF4-FFF2-40B4-BE49-F238E27FC236}">
                    <a16:creationId xmlns:a16="http://schemas.microsoft.com/office/drawing/2014/main" id="{466FC8E7-D5B8-4544-854B-64D5281E55E3}"/>
                  </a:ext>
                </a:extLst>
              </p:cNvPr>
              <p:cNvSpPr txBox="1"/>
              <p:nvPr/>
            </p:nvSpPr>
            <p:spPr>
              <a:xfrm>
                <a:off x="7563720" y="5179018"/>
                <a:ext cx="956017"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CCTV Cameras</a:t>
                </a:r>
              </a:p>
            </p:txBody>
          </p:sp>
          <p:sp>
            <p:nvSpPr>
              <p:cNvPr id="1516" name="TextBox 1515">
                <a:extLst>
                  <a:ext uri="{FF2B5EF4-FFF2-40B4-BE49-F238E27FC236}">
                    <a16:creationId xmlns:a16="http://schemas.microsoft.com/office/drawing/2014/main" id="{2E90BC1A-E3BE-4F4A-A00C-05F8CB572A01}"/>
                  </a:ext>
                </a:extLst>
              </p:cNvPr>
              <p:cNvSpPr txBox="1"/>
              <p:nvPr/>
            </p:nvSpPr>
            <p:spPr>
              <a:xfrm>
                <a:off x="7631050" y="6102414"/>
                <a:ext cx="760321"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Internet Link</a:t>
                </a:r>
              </a:p>
            </p:txBody>
          </p:sp>
          <p:sp>
            <p:nvSpPr>
              <p:cNvPr id="1517" name="TextBox 1516">
                <a:extLst>
                  <a:ext uri="{FF2B5EF4-FFF2-40B4-BE49-F238E27FC236}">
                    <a16:creationId xmlns:a16="http://schemas.microsoft.com/office/drawing/2014/main" id="{EBBBFB7C-5651-4955-AC32-5138599B7DB2}"/>
                  </a:ext>
                </a:extLst>
              </p:cNvPr>
              <p:cNvSpPr txBox="1"/>
              <p:nvPr/>
            </p:nvSpPr>
            <p:spPr>
              <a:xfrm>
                <a:off x="8797312" y="4133633"/>
                <a:ext cx="532547" cy="30797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S</a:t>
                </a: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ecurity </a:t>
                </a:r>
                <a:b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b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Client</a:t>
                </a:r>
              </a:p>
            </p:txBody>
          </p:sp>
          <p:sp>
            <p:nvSpPr>
              <p:cNvPr id="1518" name="TextBox 1517">
                <a:extLst>
                  <a:ext uri="{FF2B5EF4-FFF2-40B4-BE49-F238E27FC236}">
                    <a16:creationId xmlns:a16="http://schemas.microsoft.com/office/drawing/2014/main" id="{693ED750-2282-434D-9C38-89E6FF05579D}"/>
                  </a:ext>
                </a:extLst>
              </p:cNvPr>
              <p:cNvSpPr txBox="1"/>
              <p:nvPr/>
            </p:nvSpPr>
            <p:spPr>
              <a:xfrm>
                <a:off x="4883843" y="4451365"/>
                <a:ext cx="487633" cy="153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lvl="0" indent="0" algn="l"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Storage</a:t>
                </a:r>
              </a:p>
            </p:txBody>
          </p:sp>
          <p:sp>
            <p:nvSpPr>
              <p:cNvPr id="1519" name="TextBox 1518">
                <a:extLst>
                  <a:ext uri="{FF2B5EF4-FFF2-40B4-BE49-F238E27FC236}">
                    <a16:creationId xmlns:a16="http://schemas.microsoft.com/office/drawing/2014/main" id="{8A5258AF-2CDF-4089-A26F-50AAC1FE8D44}"/>
                  </a:ext>
                </a:extLst>
              </p:cNvPr>
              <p:cNvSpPr txBox="1"/>
              <p:nvPr/>
            </p:nvSpPr>
            <p:spPr>
              <a:xfrm>
                <a:off x="6008465" y="5691842"/>
                <a:ext cx="732854"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lvl="0" indent="0" algn="ctr" defTabSz="2438338" rtl="0" eaLnBrk="1" fontAlgn="auto" latinLnBrk="0" hangingPunct="0">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S</a:t>
                </a:r>
                <a:r>
                  <a:rPr kumimoji="0" lang="en-US" sz="1000" b="0" i="0" u="none" strike="noStrike" kern="1200" cap="none" spc="0" normalizeH="0" baseline="0" noProof="0">
                    <a:ln>
                      <a:noFill/>
                    </a:ln>
                    <a:solidFill>
                      <a:srgbClr val="525252"/>
                    </a:solidFill>
                    <a:effectLst/>
                    <a:uLnTx/>
                    <a:uFillTx/>
                    <a:latin typeface="IntelOne Text" panose="020B0503020203020204" pitchFamily="34" charset="0"/>
                    <a:ea typeface="+mn-ea"/>
                    <a:cs typeface="+mn-cs"/>
                    <a:sym typeface="Helvetica Neue"/>
                  </a:rPr>
                  <a:t>ecurity Client</a:t>
                </a:r>
              </a:p>
            </p:txBody>
          </p:sp>
          <p:grpSp>
            <p:nvGrpSpPr>
              <p:cNvPr id="1520" name="Group 1519">
                <a:extLst>
                  <a:ext uri="{FF2B5EF4-FFF2-40B4-BE49-F238E27FC236}">
                    <a16:creationId xmlns:a16="http://schemas.microsoft.com/office/drawing/2014/main" id="{3C80C52D-9843-43F1-AFD3-47F4E630E4C1}"/>
                  </a:ext>
                </a:extLst>
              </p:cNvPr>
              <p:cNvGrpSpPr/>
              <p:nvPr/>
            </p:nvGrpSpPr>
            <p:grpSpPr>
              <a:xfrm>
                <a:off x="8773341" y="3568641"/>
                <a:ext cx="580482" cy="521373"/>
                <a:chOff x="8773341" y="3568641"/>
                <a:chExt cx="580482" cy="521373"/>
              </a:xfrm>
            </p:grpSpPr>
            <p:sp>
              <p:nvSpPr>
                <p:cNvPr id="1826" name="Graphic 2">
                  <a:extLst>
                    <a:ext uri="{FF2B5EF4-FFF2-40B4-BE49-F238E27FC236}">
                      <a16:creationId xmlns:a16="http://schemas.microsoft.com/office/drawing/2014/main" id="{9EA91588-F57C-4B8B-9061-71E8DA9A5368}"/>
                    </a:ext>
                  </a:extLst>
                </p:cNvPr>
                <p:cNvSpPr/>
                <p:nvPr/>
              </p:nvSpPr>
              <p:spPr>
                <a:xfrm>
                  <a:off x="8854251" y="3568641"/>
                  <a:ext cx="418922" cy="241917"/>
                </a:xfrm>
                <a:custGeom>
                  <a:avLst/>
                  <a:gdLst>
                    <a:gd name="connsiteX0" fmla="*/ 1641085 w 6292213"/>
                    <a:gd name="connsiteY0" fmla="*/ 867773 h 3633586"/>
                    <a:gd name="connsiteX1" fmla="*/ 3144149 w 6292213"/>
                    <a:gd name="connsiteY1" fmla="*/ 0 h 3633586"/>
                    <a:gd name="connsiteX2" fmla="*/ 6086160 w 6292213"/>
                    <a:gd name="connsiteY2" fmla="*/ 1698349 h 3633586"/>
                    <a:gd name="connsiteX3" fmla="*/ 6292214 w 6292213"/>
                    <a:gd name="connsiteY3" fmla="*/ 1818262 h 3633586"/>
                    <a:gd name="connsiteX4" fmla="*/ 4517512 w 6292213"/>
                    <a:gd name="connsiteY4" fmla="*/ 2843634 h 3633586"/>
                    <a:gd name="connsiteX5" fmla="*/ 3148554 w 6292213"/>
                    <a:gd name="connsiteY5" fmla="*/ 3633587 h 3633586"/>
                    <a:gd name="connsiteX6" fmla="*/ 2901877 w 6292213"/>
                    <a:gd name="connsiteY6" fmla="*/ 3493607 h 3633586"/>
                    <a:gd name="connsiteX7" fmla="*/ 2664500 w 6292213"/>
                    <a:gd name="connsiteY7" fmla="*/ 3356565 h 3633586"/>
                    <a:gd name="connsiteX8" fmla="*/ 2470193 w 6292213"/>
                    <a:gd name="connsiteY8" fmla="*/ 3243505 h 3633586"/>
                    <a:gd name="connsiteX9" fmla="*/ 2416355 w 6292213"/>
                    <a:gd name="connsiteY9" fmla="*/ 3213649 h 3633586"/>
                    <a:gd name="connsiteX10" fmla="*/ 2178488 w 6292213"/>
                    <a:gd name="connsiteY10" fmla="*/ 3076607 h 3633586"/>
                    <a:gd name="connsiteX11" fmla="*/ 2024315 w 6292213"/>
                    <a:gd name="connsiteY11" fmla="*/ 2986550 h 3633586"/>
                    <a:gd name="connsiteX12" fmla="*/ 1932301 w 6292213"/>
                    <a:gd name="connsiteY12" fmla="*/ 2934670 h 3633586"/>
                    <a:gd name="connsiteX13" fmla="*/ 1694923 w 6292213"/>
                    <a:gd name="connsiteY13" fmla="*/ 2797627 h 3633586"/>
                    <a:gd name="connsiteX14" fmla="*/ 1449715 w 6292213"/>
                    <a:gd name="connsiteY14" fmla="*/ 2656669 h 3633586"/>
                    <a:gd name="connsiteX15" fmla="*/ 1208912 w 6292213"/>
                    <a:gd name="connsiteY15" fmla="*/ 2517668 h 3633586"/>
                    <a:gd name="connsiteX16" fmla="*/ 1007753 w 6292213"/>
                    <a:gd name="connsiteY16" fmla="*/ 2400203 h 3633586"/>
                    <a:gd name="connsiteX17" fmla="*/ 964682 w 6292213"/>
                    <a:gd name="connsiteY17" fmla="*/ 2376710 h 3633586"/>
                    <a:gd name="connsiteX18" fmla="*/ 723389 w 6292213"/>
                    <a:gd name="connsiteY18" fmla="*/ 2237710 h 3633586"/>
                    <a:gd name="connsiteX19" fmla="*/ 480628 w 6292213"/>
                    <a:gd name="connsiteY19" fmla="*/ 2097241 h 3633586"/>
                    <a:gd name="connsiteX20" fmla="*/ 239825 w 6292213"/>
                    <a:gd name="connsiteY20" fmla="*/ 1958241 h 3633586"/>
                    <a:gd name="connsiteX21" fmla="*/ 0 w 6292213"/>
                    <a:gd name="connsiteY21" fmla="*/ 1817772 h 3633586"/>
                    <a:gd name="connsiteX22" fmla="*/ 237377 w 6292213"/>
                    <a:gd name="connsiteY22" fmla="*/ 1680240 h 3633586"/>
                    <a:gd name="connsiteX23" fmla="*/ 431684 w 6292213"/>
                    <a:gd name="connsiteY23" fmla="*/ 1790853 h 3633586"/>
                    <a:gd name="connsiteX24" fmla="*/ 1358190 w 6292213"/>
                    <a:gd name="connsiteY24" fmla="*/ 2323362 h 3633586"/>
                    <a:gd name="connsiteX25" fmla="*/ 3144638 w 6292213"/>
                    <a:gd name="connsiteY25" fmla="*/ 3355097 h 3633586"/>
                    <a:gd name="connsiteX26" fmla="*/ 3242037 w 6292213"/>
                    <a:gd name="connsiteY26" fmla="*/ 3300279 h 3633586"/>
                    <a:gd name="connsiteX27" fmla="*/ 3390826 w 6292213"/>
                    <a:gd name="connsiteY27" fmla="*/ 3213649 h 3633586"/>
                    <a:gd name="connsiteX28" fmla="*/ 4362850 w 6292213"/>
                    <a:gd name="connsiteY28" fmla="*/ 2652264 h 3633586"/>
                    <a:gd name="connsiteX29" fmla="*/ 5563930 w 6292213"/>
                    <a:gd name="connsiteY29" fmla="*/ 1958241 h 3633586"/>
                    <a:gd name="connsiteX30" fmla="*/ 5699504 w 6292213"/>
                    <a:gd name="connsiteY30" fmla="*/ 1880420 h 3633586"/>
                    <a:gd name="connsiteX31" fmla="*/ 5805223 w 6292213"/>
                    <a:gd name="connsiteY31" fmla="*/ 1816793 h 3633586"/>
                    <a:gd name="connsiteX32" fmla="*/ 5585465 w 6292213"/>
                    <a:gd name="connsiteY32" fmla="*/ 1689050 h 3633586"/>
                    <a:gd name="connsiteX33" fmla="*/ 3168131 w 6292213"/>
                    <a:gd name="connsiteY33" fmla="*/ 293173 h 3633586"/>
                    <a:gd name="connsiteX34" fmla="*/ 3143660 w 6292213"/>
                    <a:gd name="connsiteY34" fmla="*/ 279958 h 3633586"/>
                    <a:gd name="connsiteX35" fmla="*/ 1843713 w 6292213"/>
                    <a:gd name="connsiteY35" fmla="*/ 1029777 h 3633586"/>
                    <a:gd name="connsiteX36" fmla="*/ 1784980 w 6292213"/>
                    <a:gd name="connsiteY36" fmla="*/ 1062570 h 3633586"/>
                    <a:gd name="connsiteX37" fmla="*/ 1759529 w 6292213"/>
                    <a:gd name="connsiteY37" fmla="*/ 1058165 h 3633586"/>
                    <a:gd name="connsiteX38" fmla="*/ 1483976 w 6292213"/>
                    <a:gd name="connsiteY38" fmla="*/ 959788 h 3633586"/>
                    <a:gd name="connsiteX39" fmla="*/ 1641085 w 6292213"/>
                    <a:gd name="connsiteY39" fmla="*/ 867773 h 3633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292213" h="3633586">
                      <a:moveTo>
                        <a:pt x="1641085" y="867773"/>
                      </a:moveTo>
                      <a:cubicBezTo>
                        <a:pt x="2141780" y="578516"/>
                        <a:pt x="2642965" y="289258"/>
                        <a:pt x="3144149" y="0"/>
                      </a:cubicBezTo>
                      <a:cubicBezTo>
                        <a:pt x="4124983" y="565790"/>
                        <a:pt x="5105327" y="1132559"/>
                        <a:pt x="6086160" y="1698349"/>
                      </a:cubicBezTo>
                      <a:cubicBezTo>
                        <a:pt x="6154682" y="1738483"/>
                        <a:pt x="6224671" y="1776659"/>
                        <a:pt x="6292214" y="1818262"/>
                      </a:cubicBezTo>
                      <a:cubicBezTo>
                        <a:pt x="5700973" y="2160379"/>
                        <a:pt x="5108753" y="2501517"/>
                        <a:pt x="4517512" y="2843634"/>
                      </a:cubicBezTo>
                      <a:cubicBezTo>
                        <a:pt x="4060866" y="3106951"/>
                        <a:pt x="3605199" y="3370759"/>
                        <a:pt x="3148554" y="3633587"/>
                      </a:cubicBezTo>
                      <a:cubicBezTo>
                        <a:pt x="3065350" y="3589048"/>
                        <a:pt x="2985082" y="3538146"/>
                        <a:pt x="2901877" y="3493607"/>
                      </a:cubicBezTo>
                      <a:cubicBezTo>
                        <a:pt x="2822099" y="3449069"/>
                        <a:pt x="2742810" y="3403551"/>
                        <a:pt x="2664500" y="3356565"/>
                      </a:cubicBezTo>
                      <a:cubicBezTo>
                        <a:pt x="2600384" y="3317410"/>
                        <a:pt x="2534799" y="3281681"/>
                        <a:pt x="2470193" y="3243505"/>
                      </a:cubicBezTo>
                      <a:cubicBezTo>
                        <a:pt x="2452573" y="3233227"/>
                        <a:pt x="2434954" y="3222948"/>
                        <a:pt x="2416355" y="3213649"/>
                      </a:cubicBezTo>
                      <a:cubicBezTo>
                        <a:pt x="2336087" y="3169110"/>
                        <a:pt x="2257288" y="3123103"/>
                        <a:pt x="2178488" y="3076607"/>
                      </a:cubicBezTo>
                      <a:cubicBezTo>
                        <a:pt x="2128076" y="3045282"/>
                        <a:pt x="2075706" y="3016895"/>
                        <a:pt x="2024315" y="2986550"/>
                      </a:cubicBezTo>
                      <a:cubicBezTo>
                        <a:pt x="1993480" y="2968930"/>
                        <a:pt x="1963625" y="2950821"/>
                        <a:pt x="1932301" y="2934670"/>
                      </a:cubicBezTo>
                      <a:cubicBezTo>
                        <a:pt x="1852522" y="2890131"/>
                        <a:pt x="1773233" y="2844124"/>
                        <a:pt x="1694923" y="2797627"/>
                      </a:cubicBezTo>
                      <a:cubicBezTo>
                        <a:pt x="1613677" y="2749662"/>
                        <a:pt x="1532430" y="2701697"/>
                        <a:pt x="1449715" y="2656669"/>
                      </a:cubicBezTo>
                      <a:cubicBezTo>
                        <a:pt x="1368958" y="2611151"/>
                        <a:pt x="1288690" y="2564654"/>
                        <a:pt x="1208912" y="2517668"/>
                      </a:cubicBezTo>
                      <a:cubicBezTo>
                        <a:pt x="1142838" y="2476556"/>
                        <a:pt x="1074316" y="2439848"/>
                        <a:pt x="1007753" y="2400203"/>
                      </a:cubicBezTo>
                      <a:cubicBezTo>
                        <a:pt x="993559" y="2391883"/>
                        <a:pt x="979365" y="2384052"/>
                        <a:pt x="964682" y="2376710"/>
                      </a:cubicBezTo>
                      <a:cubicBezTo>
                        <a:pt x="883925" y="2331193"/>
                        <a:pt x="803657" y="2284207"/>
                        <a:pt x="723389" y="2237710"/>
                      </a:cubicBezTo>
                      <a:cubicBezTo>
                        <a:pt x="643611" y="2189256"/>
                        <a:pt x="562364" y="2142270"/>
                        <a:pt x="480628" y="2097241"/>
                      </a:cubicBezTo>
                      <a:cubicBezTo>
                        <a:pt x="399871" y="2051234"/>
                        <a:pt x="319603" y="2005227"/>
                        <a:pt x="239825" y="1958241"/>
                      </a:cubicBezTo>
                      <a:cubicBezTo>
                        <a:pt x="161025" y="1909787"/>
                        <a:pt x="79289" y="1865737"/>
                        <a:pt x="0" y="1817772"/>
                      </a:cubicBezTo>
                      <a:cubicBezTo>
                        <a:pt x="78310" y="1770786"/>
                        <a:pt x="158088" y="1725758"/>
                        <a:pt x="237377" y="1680240"/>
                      </a:cubicBezTo>
                      <a:cubicBezTo>
                        <a:pt x="303452" y="1714990"/>
                        <a:pt x="367078" y="1754145"/>
                        <a:pt x="431684" y="1790853"/>
                      </a:cubicBezTo>
                      <a:cubicBezTo>
                        <a:pt x="741498" y="1966072"/>
                        <a:pt x="1049355" y="2145696"/>
                        <a:pt x="1358190" y="2323362"/>
                      </a:cubicBezTo>
                      <a:cubicBezTo>
                        <a:pt x="1953836" y="2667436"/>
                        <a:pt x="2549482" y="3011022"/>
                        <a:pt x="3144638" y="3355097"/>
                      </a:cubicBezTo>
                      <a:cubicBezTo>
                        <a:pt x="3178410" y="3338945"/>
                        <a:pt x="3209734" y="3318389"/>
                        <a:pt x="3242037" y="3300279"/>
                      </a:cubicBezTo>
                      <a:cubicBezTo>
                        <a:pt x="3291470" y="3271403"/>
                        <a:pt x="3341882" y="3243994"/>
                        <a:pt x="3390826" y="3213649"/>
                      </a:cubicBezTo>
                      <a:cubicBezTo>
                        <a:pt x="3714344" y="3025705"/>
                        <a:pt x="4038841" y="2839229"/>
                        <a:pt x="4362850" y="2652264"/>
                      </a:cubicBezTo>
                      <a:cubicBezTo>
                        <a:pt x="4763209" y="2420760"/>
                        <a:pt x="5164059" y="2190234"/>
                        <a:pt x="5563930" y="1958241"/>
                      </a:cubicBezTo>
                      <a:cubicBezTo>
                        <a:pt x="5609448" y="1932790"/>
                        <a:pt x="5654476" y="1906360"/>
                        <a:pt x="5699504" y="1880420"/>
                      </a:cubicBezTo>
                      <a:cubicBezTo>
                        <a:pt x="5734744" y="1859375"/>
                        <a:pt x="5771941" y="1841265"/>
                        <a:pt x="5805223" y="1816793"/>
                      </a:cubicBezTo>
                      <a:cubicBezTo>
                        <a:pt x="5733276" y="1772744"/>
                        <a:pt x="5658881" y="1732121"/>
                        <a:pt x="5585465" y="1689050"/>
                      </a:cubicBezTo>
                      <a:cubicBezTo>
                        <a:pt x="4779850" y="1223595"/>
                        <a:pt x="3973746" y="758629"/>
                        <a:pt x="3168131" y="293173"/>
                      </a:cubicBezTo>
                      <a:cubicBezTo>
                        <a:pt x="3159811" y="288768"/>
                        <a:pt x="3151980" y="284363"/>
                        <a:pt x="3143660" y="279958"/>
                      </a:cubicBezTo>
                      <a:cubicBezTo>
                        <a:pt x="2710018" y="529082"/>
                        <a:pt x="2277355" y="780164"/>
                        <a:pt x="1843713" y="1029777"/>
                      </a:cubicBezTo>
                      <a:cubicBezTo>
                        <a:pt x="1824135" y="1040545"/>
                        <a:pt x="1806026" y="1054249"/>
                        <a:pt x="1784980" y="1062570"/>
                      </a:cubicBezTo>
                      <a:cubicBezTo>
                        <a:pt x="1776170" y="1066485"/>
                        <a:pt x="1767360" y="1061101"/>
                        <a:pt x="1759529" y="1058165"/>
                      </a:cubicBezTo>
                      <a:cubicBezTo>
                        <a:pt x="1671430" y="1016073"/>
                        <a:pt x="1578927" y="982302"/>
                        <a:pt x="1483976" y="959788"/>
                      </a:cubicBezTo>
                      <a:cubicBezTo>
                        <a:pt x="1534877" y="926995"/>
                        <a:pt x="1588715" y="898608"/>
                        <a:pt x="1641085" y="867773"/>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7" name="Graphic 2">
                  <a:extLst>
                    <a:ext uri="{FF2B5EF4-FFF2-40B4-BE49-F238E27FC236}">
                      <a16:creationId xmlns:a16="http://schemas.microsoft.com/office/drawing/2014/main" id="{B0D3CA86-327A-410A-9510-3991A23CB940}"/>
                    </a:ext>
                  </a:extLst>
                </p:cNvPr>
                <p:cNvSpPr/>
                <p:nvPr/>
              </p:nvSpPr>
              <p:spPr>
                <a:xfrm>
                  <a:off x="8931056" y="3587280"/>
                  <a:ext cx="148884" cy="204737"/>
                </a:xfrm>
                <a:custGeom>
                  <a:avLst/>
                  <a:gdLst>
                    <a:gd name="connsiteX0" fmla="*/ 690597 w 2236241"/>
                    <a:gd name="connsiteY0" fmla="*/ 749819 h 3075137"/>
                    <a:gd name="connsiteX1" fmla="*/ 1990544 w 2236241"/>
                    <a:gd name="connsiteY1" fmla="*/ 0 h 3075137"/>
                    <a:gd name="connsiteX2" fmla="*/ 1990544 w 2236241"/>
                    <a:gd name="connsiteY2" fmla="*/ 278980 h 3075137"/>
                    <a:gd name="connsiteX3" fmla="*/ 1112492 w 2236241"/>
                    <a:gd name="connsiteY3" fmla="*/ 785548 h 3075137"/>
                    <a:gd name="connsiteX4" fmla="*/ 873157 w 2236241"/>
                    <a:gd name="connsiteY4" fmla="*/ 924548 h 3075137"/>
                    <a:gd name="connsiteX5" fmla="*/ 1091447 w 2236241"/>
                    <a:gd name="connsiteY5" fmla="*/ 1080679 h 3075137"/>
                    <a:gd name="connsiteX6" fmla="*/ 1410070 w 2236241"/>
                    <a:gd name="connsiteY6" fmla="*/ 1393430 h 3075137"/>
                    <a:gd name="connsiteX7" fmla="*/ 1537324 w 2236241"/>
                    <a:gd name="connsiteY7" fmla="*/ 1606335 h 3075137"/>
                    <a:gd name="connsiteX8" fmla="*/ 1559349 w 2236241"/>
                    <a:gd name="connsiteY8" fmla="*/ 1707649 h 3075137"/>
                    <a:gd name="connsiteX9" fmla="*/ 2232326 w 2236241"/>
                    <a:gd name="connsiteY9" fmla="*/ 2096262 h 3075137"/>
                    <a:gd name="connsiteX10" fmla="*/ 2232816 w 2236241"/>
                    <a:gd name="connsiteY10" fmla="*/ 2830419 h 3075137"/>
                    <a:gd name="connsiteX11" fmla="*/ 2236242 w 2236241"/>
                    <a:gd name="connsiteY11" fmla="*/ 2933691 h 3075137"/>
                    <a:gd name="connsiteX12" fmla="*/ 2087453 w 2236241"/>
                    <a:gd name="connsiteY12" fmla="*/ 3020321 h 3075137"/>
                    <a:gd name="connsiteX13" fmla="*/ 1990054 w 2236241"/>
                    <a:gd name="connsiteY13" fmla="*/ 3075138 h 3075137"/>
                    <a:gd name="connsiteX14" fmla="*/ 1989565 w 2236241"/>
                    <a:gd name="connsiteY14" fmla="*/ 2343428 h 3075137"/>
                    <a:gd name="connsiteX15" fmla="*/ 1988586 w 2236241"/>
                    <a:gd name="connsiteY15" fmla="*/ 2235263 h 3075137"/>
                    <a:gd name="connsiteX16" fmla="*/ 1437479 w 2236241"/>
                    <a:gd name="connsiteY16" fmla="*/ 1917618 h 3075137"/>
                    <a:gd name="connsiteX17" fmla="*/ 1316098 w 2236241"/>
                    <a:gd name="connsiteY17" fmla="*/ 1846649 h 3075137"/>
                    <a:gd name="connsiteX18" fmla="*/ 1233384 w 2236241"/>
                    <a:gd name="connsiteY18" fmla="*/ 1625423 h 3075137"/>
                    <a:gd name="connsiteX19" fmla="*/ 974471 w 2236241"/>
                    <a:gd name="connsiteY19" fmla="*/ 1328334 h 3075137"/>
                    <a:gd name="connsiteX20" fmla="*/ 565301 w 2236241"/>
                    <a:gd name="connsiteY20" fmla="*/ 1024883 h 3075137"/>
                    <a:gd name="connsiteX21" fmla="*/ 126275 w 2236241"/>
                    <a:gd name="connsiteY21" fmla="*/ 829597 h 3075137"/>
                    <a:gd name="connsiteX22" fmla="*/ 0 w 2236241"/>
                    <a:gd name="connsiteY22" fmla="*/ 804146 h 3075137"/>
                    <a:gd name="connsiteX23" fmla="*/ 41113 w 2236241"/>
                    <a:gd name="connsiteY23" fmla="*/ 707238 h 3075137"/>
                    <a:gd name="connsiteX24" fmla="*/ 184029 w 2236241"/>
                    <a:gd name="connsiteY24" fmla="*/ 663188 h 3075137"/>
                    <a:gd name="connsiteX25" fmla="*/ 329392 w 2236241"/>
                    <a:gd name="connsiteY25" fmla="*/ 679829 h 3075137"/>
                    <a:gd name="connsiteX26" fmla="*/ 604945 w 2236241"/>
                    <a:gd name="connsiteY26" fmla="*/ 778206 h 3075137"/>
                    <a:gd name="connsiteX27" fmla="*/ 630396 w 2236241"/>
                    <a:gd name="connsiteY27" fmla="*/ 782611 h 3075137"/>
                    <a:gd name="connsiteX28" fmla="*/ 690597 w 2236241"/>
                    <a:gd name="connsiteY28" fmla="*/ 749819 h 307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36241" h="3075137">
                      <a:moveTo>
                        <a:pt x="690597" y="749819"/>
                      </a:moveTo>
                      <a:cubicBezTo>
                        <a:pt x="1124239" y="500205"/>
                        <a:pt x="1556902" y="249124"/>
                        <a:pt x="1990544" y="0"/>
                      </a:cubicBezTo>
                      <a:cubicBezTo>
                        <a:pt x="1990544" y="92993"/>
                        <a:pt x="1990544" y="185986"/>
                        <a:pt x="1990544" y="278980"/>
                      </a:cubicBezTo>
                      <a:cubicBezTo>
                        <a:pt x="1697860" y="447346"/>
                        <a:pt x="1405176" y="616692"/>
                        <a:pt x="1112492" y="785548"/>
                      </a:cubicBezTo>
                      <a:cubicBezTo>
                        <a:pt x="1032714" y="832044"/>
                        <a:pt x="952446" y="877073"/>
                        <a:pt x="873157" y="924548"/>
                      </a:cubicBezTo>
                      <a:cubicBezTo>
                        <a:pt x="948041" y="973981"/>
                        <a:pt x="1020967" y="1025372"/>
                        <a:pt x="1091447" y="1080679"/>
                      </a:cubicBezTo>
                      <a:cubicBezTo>
                        <a:pt x="1207443" y="1174161"/>
                        <a:pt x="1317077" y="1276454"/>
                        <a:pt x="1410070" y="1393430"/>
                      </a:cubicBezTo>
                      <a:cubicBezTo>
                        <a:pt x="1460972" y="1458525"/>
                        <a:pt x="1507958" y="1528514"/>
                        <a:pt x="1537324" y="1606335"/>
                      </a:cubicBezTo>
                      <a:cubicBezTo>
                        <a:pt x="1550050" y="1638638"/>
                        <a:pt x="1555434" y="1673388"/>
                        <a:pt x="1559349" y="1707649"/>
                      </a:cubicBezTo>
                      <a:cubicBezTo>
                        <a:pt x="1784001" y="1836860"/>
                        <a:pt x="2008164" y="1967051"/>
                        <a:pt x="2232326" y="2096262"/>
                      </a:cubicBezTo>
                      <a:cubicBezTo>
                        <a:pt x="2233794" y="2340981"/>
                        <a:pt x="2232326" y="2585700"/>
                        <a:pt x="2232816" y="2830419"/>
                      </a:cubicBezTo>
                      <a:cubicBezTo>
                        <a:pt x="2233305" y="2864680"/>
                        <a:pt x="2230369" y="2899430"/>
                        <a:pt x="2236242" y="2933691"/>
                      </a:cubicBezTo>
                      <a:cubicBezTo>
                        <a:pt x="2187298" y="2964036"/>
                        <a:pt x="2137375" y="2991444"/>
                        <a:pt x="2087453" y="3020321"/>
                      </a:cubicBezTo>
                      <a:cubicBezTo>
                        <a:pt x="2054660" y="3038430"/>
                        <a:pt x="2023826" y="3058987"/>
                        <a:pt x="1990054" y="3075138"/>
                      </a:cubicBezTo>
                      <a:cubicBezTo>
                        <a:pt x="1989075" y="2831398"/>
                        <a:pt x="1990054" y="2587658"/>
                        <a:pt x="1989565" y="2343428"/>
                      </a:cubicBezTo>
                      <a:cubicBezTo>
                        <a:pt x="1989565" y="2307210"/>
                        <a:pt x="1990544" y="2270992"/>
                        <a:pt x="1988586" y="2235263"/>
                      </a:cubicBezTo>
                      <a:cubicBezTo>
                        <a:pt x="1804558" y="2130034"/>
                        <a:pt x="1621018" y="2023336"/>
                        <a:pt x="1437479" y="1917618"/>
                      </a:cubicBezTo>
                      <a:cubicBezTo>
                        <a:pt x="1397345" y="1893635"/>
                        <a:pt x="1355743" y="1871610"/>
                        <a:pt x="1316098" y="1846649"/>
                      </a:cubicBezTo>
                      <a:cubicBezTo>
                        <a:pt x="1312673" y="1766381"/>
                        <a:pt x="1274986" y="1692476"/>
                        <a:pt x="1233384" y="1625423"/>
                      </a:cubicBezTo>
                      <a:cubicBezTo>
                        <a:pt x="1161925" y="1514321"/>
                        <a:pt x="1071379" y="1417412"/>
                        <a:pt x="974471" y="1328334"/>
                      </a:cubicBezTo>
                      <a:cubicBezTo>
                        <a:pt x="849175" y="1213806"/>
                        <a:pt x="711643" y="1112003"/>
                        <a:pt x="565301" y="1024883"/>
                      </a:cubicBezTo>
                      <a:cubicBezTo>
                        <a:pt x="427279" y="943147"/>
                        <a:pt x="281427" y="872178"/>
                        <a:pt x="126275" y="829597"/>
                      </a:cubicBezTo>
                      <a:cubicBezTo>
                        <a:pt x="85162" y="817361"/>
                        <a:pt x="42092" y="811488"/>
                        <a:pt x="0" y="804146"/>
                      </a:cubicBezTo>
                      <a:cubicBezTo>
                        <a:pt x="979" y="768417"/>
                        <a:pt x="13215" y="731220"/>
                        <a:pt x="41113" y="707238"/>
                      </a:cubicBezTo>
                      <a:cubicBezTo>
                        <a:pt x="79778" y="672977"/>
                        <a:pt x="134106" y="664167"/>
                        <a:pt x="184029" y="663188"/>
                      </a:cubicBezTo>
                      <a:cubicBezTo>
                        <a:pt x="232972" y="662699"/>
                        <a:pt x="281916" y="670530"/>
                        <a:pt x="329392" y="679829"/>
                      </a:cubicBezTo>
                      <a:cubicBezTo>
                        <a:pt x="424343" y="702833"/>
                        <a:pt x="516846" y="736604"/>
                        <a:pt x="604945" y="778206"/>
                      </a:cubicBezTo>
                      <a:cubicBezTo>
                        <a:pt x="612776" y="781143"/>
                        <a:pt x="622075" y="786527"/>
                        <a:pt x="630396" y="782611"/>
                      </a:cubicBezTo>
                      <a:cubicBezTo>
                        <a:pt x="652910" y="774291"/>
                        <a:pt x="671019" y="760586"/>
                        <a:pt x="690597" y="749819"/>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8" name="Graphic 2">
                  <a:extLst>
                    <a:ext uri="{FF2B5EF4-FFF2-40B4-BE49-F238E27FC236}">
                      <a16:creationId xmlns:a16="http://schemas.microsoft.com/office/drawing/2014/main" id="{02D7FEFA-E3EB-46EB-9CF5-EA87053521F8}"/>
                    </a:ext>
                  </a:extLst>
                </p:cNvPr>
                <p:cNvSpPr/>
                <p:nvPr/>
              </p:nvSpPr>
              <p:spPr>
                <a:xfrm>
                  <a:off x="9063582" y="3587280"/>
                  <a:ext cx="177201" cy="111737"/>
                </a:xfrm>
                <a:custGeom>
                  <a:avLst/>
                  <a:gdLst>
                    <a:gd name="connsiteX0" fmla="*/ 0 w 2661562"/>
                    <a:gd name="connsiteY0" fmla="*/ 0 h 1678282"/>
                    <a:gd name="connsiteX1" fmla="*/ 24472 w 2661562"/>
                    <a:gd name="connsiteY1" fmla="*/ 13215 h 1678282"/>
                    <a:gd name="connsiteX2" fmla="*/ 2441806 w 2661562"/>
                    <a:gd name="connsiteY2" fmla="*/ 1409092 h 1678282"/>
                    <a:gd name="connsiteX3" fmla="*/ 2661563 w 2661562"/>
                    <a:gd name="connsiteY3" fmla="*/ 1536835 h 1678282"/>
                    <a:gd name="connsiteX4" fmla="*/ 2555844 w 2661562"/>
                    <a:gd name="connsiteY4" fmla="*/ 1600462 h 1678282"/>
                    <a:gd name="connsiteX5" fmla="*/ 2420270 w 2661562"/>
                    <a:gd name="connsiteY5" fmla="*/ 1678282 h 1678282"/>
                    <a:gd name="connsiteX6" fmla="*/ 2209323 w 2661562"/>
                    <a:gd name="connsiteY6" fmla="*/ 1554944 h 1678282"/>
                    <a:gd name="connsiteX7" fmla="*/ 718005 w 2661562"/>
                    <a:gd name="connsiteY7" fmla="*/ 694023 h 1678282"/>
                    <a:gd name="connsiteX8" fmla="*/ 237377 w 2661562"/>
                    <a:gd name="connsiteY8" fmla="*/ 415533 h 1678282"/>
                    <a:gd name="connsiteX9" fmla="*/ 979 w 2661562"/>
                    <a:gd name="connsiteY9" fmla="*/ 279469 h 1678282"/>
                    <a:gd name="connsiteX10" fmla="*/ 0 w 2661562"/>
                    <a:gd name="connsiteY10" fmla="*/ 0 h 167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1562" h="1678282">
                      <a:moveTo>
                        <a:pt x="0" y="0"/>
                      </a:moveTo>
                      <a:cubicBezTo>
                        <a:pt x="7831" y="4405"/>
                        <a:pt x="16151" y="8810"/>
                        <a:pt x="24472" y="13215"/>
                      </a:cubicBezTo>
                      <a:cubicBezTo>
                        <a:pt x="830087" y="478670"/>
                        <a:pt x="1636191" y="943636"/>
                        <a:pt x="2441806" y="1409092"/>
                      </a:cubicBezTo>
                      <a:cubicBezTo>
                        <a:pt x="2514732" y="1452162"/>
                        <a:pt x="2589127" y="1492786"/>
                        <a:pt x="2661563" y="1536835"/>
                      </a:cubicBezTo>
                      <a:cubicBezTo>
                        <a:pt x="2628282" y="1561307"/>
                        <a:pt x="2591084" y="1578927"/>
                        <a:pt x="2555844" y="1600462"/>
                      </a:cubicBezTo>
                      <a:cubicBezTo>
                        <a:pt x="2510816" y="1626402"/>
                        <a:pt x="2465788" y="1653321"/>
                        <a:pt x="2420270" y="1678282"/>
                      </a:cubicBezTo>
                      <a:cubicBezTo>
                        <a:pt x="2351260" y="1635212"/>
                        <a:pt x="2279312" y="1596546"/>
                        <a:pt x="2209323" y="1554944"/>
                      </a:cubicBezTo>
                      <a:cubicBezTo>
                        <a:pt x="1712053" y="1268134"/>
                        <a:pt x="1214785" y="980833"/>
                        <a:pt x="718005" y="694023"/>
                      </a:cubicBezTo>
                      <a:cubicBezTo>
                        <a:pt x="557959" y="601030"/>
                        <a:pt x="396934" y="509994"/>
                        <a:pt x="237377" y="415533"/>
                      </a:cubicBezTo>
                      <a:cubicBezTo>
                        <a:pt x="158578" y="369526"/>
                        <a:pt x="80268" y="324008"/>
                        <a:pt x="979" y="279469"/>
                      </a:cubicBezTo>
                      <a:cubicBezTo>
                        <a:pt x="0" y="185986"/>
                        <a:pt x="0" y="92993"/>
                        <a:pt x="0" y="0"/>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9" name="Graphic 2">
                  <a:extLst>
                    <a:ext uri="{FF2B5EF4-FFF2-40B4-BE49-F238E27FC236}">
                      <a16:creationId xmlns:a16="http://schemas.microsoft.com/office/drawing/2014/main" id="{9DE61D74-3C0D-4656-9177-5C021866F96E}"/>
                    </a:ext>
                  </a:extLst>
                </p:cNvPr>
                <p:cNvSpPr/>
                <p:nvPr/>
              </p:nvSpPr>
              <p:spPr>
                <a:xfrm>
                  <a:off x="8989254" y="3605887"/>
                  <a:ext cx="90099" cy="53343"/>
                </a:xfrm>
                <a:custGeom>
                  <a:avLst/>
                  <a:gdLst>
                    <a:gd name="connsiteX0" fmla="*/ 238846 w 1353295"/>
                    <a:gd name="connsiteY0" fmla="*/ 506568 h 801209"/>
                    <a:gd name="connsiteX1" fmla="*/ 1116897 w 1353295"/>
                    <a:gd name="connsiteY1" fmla="*/ 0 h 801209"/>
                    <a:gd name="connsiteX2" fmla="*/ 1353296 w 1353295"/>
                    <a:gd name="connsiteY2" fmla="*/ 136064 h 801209"/>
                    <a:gd name="connsiteX3" fmla="*/ 1298968 w 1353295"/>
                    <a:gd name="connsiteY3" fmla="*/ 174240 h 801209"/>
                    <a:gd name="connsiteX4" fmla="*/ 329392 w 1353295"/>
                    <a:gd name="connsiteY4" fmla="*/ 734157 h 801209"/>
                    <a:gd name="connsiteX5" fmla="*/ 218289 w 1353295"/>
                    <a:gd name="connsiteY5" fmla="*/ 801210 h 801209"/>
                    <a:gd name="connsiteX6" fmla="*/ 0 w 1353295"/>
                    <a:gd name="connsiteY6" fmla="*/ 645079 h 801209"/>
                    <a:gd name="connsiteX7" fmla="*/ 238846 w 1353295"/>
                    <a:gd name="connsiteY7" fmla="*/ 506568 h 80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3295" h="801209">
                      <a:moveTo>
                        <a:pt x="238846" y="506568"/>
                      </a:moveTo>
                      <a:cubicBezTo>
                        <a:pt x="531530" y="337712"/>
                        <a:pt x="823724" y="168367"/>
                        <a:pt x="1116897" y="0"/>
                      </a:cubicBezTo>
                      <a:cubicBezTo>
                        <a:pt x="1196186" y="44539"/>
                        <a:pt x="1274986" y="90546"/>
                        <a:pt x="1353296" y="136064"/>
                      </a:cubicBezTo>
                      <a:cubicBezTo>
                        <a:pt x="1339102" y="153684"/>
                        <a:pt x="1318546" y="163962"/>
                        <a:pt x="1298968" y="174240"/>
                      </a:cubicBezTo>
                      <a:cubicBezTo>
                        <a:pt x="975939" y="361205"/>
                        <a:pt x="652421" y="547192"/>
                        <a:pt x="329392" y="734157"/>
                      </a:cubicBezTo>
                      <a:cubicBezTo>
                        <a:pt x="292194" y="756182"/>
                        <a:pt x="253039" y="775270"/>
                        <a:pt x="218289" y="801210"/>
                      </a:cubicBezTo>
                      <a:cubicBezTo>
                        <a:pt x="147810" y="745903"/>
                        <a:pt x="74884" y="694023"/>
                        <a:pt x="0" y="645079"/>
                      </a:cubicBezTo>
                      <a:cubicBezTo>
                        <a:pt x="78310" y="597604"/>
                        <a:pt x="159067" y="553065"/>
                        <a:pt x="238846" y="506568"/>
                      </a:cubicBezTo>
                      <a:close/>
                    </a:path>
                  </a:pathLst>
                </a:custGeom>
                <a:solidFill>
                  <a:schemeClr val="tx1">
                    <a:lumMod val="75000"/>
                    <a:lumOff val="25000"/>
                  </a:schemeClr>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0" name="Graphic 2">
                  <a:extLst>
                    <a:ext uri="{FF2B5EF4-FFF2-40B4-BE49-F238E27FC236}">
                      <a16:creationId xmlns:a16="http://schemas.microsoft.com/office/drawing/2014/main" id="{0787A2FA-E70E-4ED6-A838-512EED776FC1}"/>
                    </a:ext>
                  </a:extLst>
                </p:cNvPr>
                <p:cNvSpPr/>
                <p:nvPr/>
              </p:nvSpPr>
              <p:spPr>
                <a:xfrm>
                  <a:off x="9003755" y="3614945"/>
                  <a:ext cx="220898" cy="167654"/>
                </a:xfrm>
                <a:custGeom>
                  <a:avLst/>
                  <a:gdLst>
                    <a:gd name="connsiteX0" fmla="*/ 1135007 w 3317899"/>
                    <a:gd name="connsiteY0" fmla="*/ 0 h 2518157"/>
                    <a:gd name="connsiteX1" fmla="*/ 1615635 w 3317899"/>
                    <a:gd name="connsiteY1" fmla="*/ 278490 h 2518157"/>
                    <a:gd name="connsiteX2" fmla="*/ 3106952 w 3317899"/>
                    <a:gd name="connsiteY2" fmla="*/ 1139411 h 2518157"/>
                    <a:gd name="connsiteX3" fmla="*/ 3317899 w 3317899"/>
                    <a:gd name="connsiteY3" fmla="*/ 1262750 h 2518157"/>
                    <a:gd name="connsiteX4" fmla="*/ 2116819 w 3317899"/>
                    <a:gd name="connsiteY4" fmla="*/ 1956773 h 2518157"/>
                    <a:gd name="connsiteX5" fmla="*/ 1144795 w 3317899"/>
                    <a:gd name="connsiteY5" fmla="*/ 2518158 h 2518157"/>
                    <a:gd name="connsiteX6" fmla="*/ 1141369 w 3317899"/>
                    <a:gd name="connsiteY6" fmla="*/ 2414886 h 2518157"/>
                    <a:gd name="connsiteX7" fmla="*/ 1140880 w 3317899"/>
                    <a:gd name="connsiteY7" fmla="*/ 1680730 h 2518157"/>
                    <a:gd name="connsiteX8" fmla="*/ 467903 w 3317899"/>
                    <a:gd name="connsiteY8" fmla="*/ 1292116 h 2518157"/>
                    <a:gd name="connsiteX9" fmla="*/ 445878 w 3317899"/>
                    <a:gd name="connsiteY9" fmla="*/ 1190802 h 2518157"/>
                    <a:gd name="connsiteX10" fmla="*/ 318624 w 3317899"/>
                    <a:gd name="connsiteY10" fmla="*/ 977897 h 2518157"/>
                    <a:gd name="connsiteX11" fmla="*/ 0 w 3317899"/>
                    <a:gd name="connsiteY11" fmla="*/ 665146 h 2518157"/>
                    <a:gd name="connsiteX12" fmla="*/ 111102 w 3317899"/>
                    <a:gd name="connsiteY12" fmla="*/ 598093 h 2518157"/>
                    <a:gd name="connsiteX13" fmla="*/ 1081168 w 3317899"/>
                    <a:gd name="connsiteY13" fmla="*/ 38176 h 2518157"/>
                    <a:gd name="connsiteX14" fmla="*/ 1135007 w 3317899"/>
                    <a:gd name="connsiteY14" fmla="*/ 0 h 251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17899" h="2518157">
                      <a:moveTo>
                        <a:pt x="1135007" y="0"/>
                      </a:moveTo>
                      <a:cubicBezTo>
                        <a:pt x="1294563" y="93972"/>
                        <a:pt x="1455588" y="185497"/>
                        <a:pt x="1615635" y="278490"/>
                      </a:cubicBezTo>
                      <a:cubicBezTo>
                        <a:pt x="2112904" y="565301"/>
                        <a:pt x="2609683" y="852601"/>
                        <a:pt x="3106952" y="1139411"/>
                      </a:cubicBezTo>
                      <a:cubicBezTo>
                        <a:pt x="3176942" y="1181014"/>
                        <a:pt x="3248889" y="1219679"/>
                        <a:pt x="3317899" y="1262750"/>
                      </a:cubicBezTo>
                      <a:cubicBezTo>
                        <a:pt x="2918029" y="1494743"/>
                        <a:pt x="2517179" y="1725268"/>
                        <a:pt x="2116819" y="1956773"/>
                      </a:cubicBezTo>
                      <a:cubicBezTo>
                        <a:pt x="1792811" y="2144227"/>
                        <a:pt x="1468314" y="2330214"/>
                        <a:pt x="1144795" y="2518158"/>
                      </a:cubicBezTo>
                      <a:cubicBezTo>
                        <a:pt x="1139411" y="2483897"/>
                        <a:pt x="1141859" y="2449637"/>
                        <a:pt x="1141369" y="2414886"/>
                      </a:cubicBezTo>
                      <a:cubicBezTo>
                        <a:pt x="1140880" y="2170168"/>
                        <a:pt x="1142348" y="1925449"/>
                        <a:pt x="1140880" y="1680730"/>
                      </a:cubicBezTo>
                      <a:cubicBezTo>
                        <a:pt x="916228" y="1551518"/>
                        <a:pt x="692065" y="1421817"/>
                        <a:pt x="467903" y="1292116"/>
                      </a:cubicBezTo>
                      <a:cubicBezTo>
                        <a:pt x="463498" y="1257855"/>
                        <a:pt x="458114" y="1223105"/>
                        <a:pt x="445878" y="1190802"/>
                      </a:cubicBezTo>
                      <a:cubicBezTo>
                        <a:pt x="416512" y="1112982"/>
                        <a:pt x="369526" y="1042992"/>
                        <a:pt x="318624" y="977897"/>
                      </a:cubicBezTo>
                      <a:cubicBezTo>
                        <a:pt x="225631" y="860921"/>
                        <a:pt x="115997" y="758629"/>
                        <a:pt x="0" y="665146"/>
                      </a:cubicBezTo>
                      <a:cubicBezTo>
                        <a:pt x="34750" y="639206"/>
                        <a:pt x="73905" y="620118"/>
                        <a:pt x="111102" y="598093"/>
                      </a:cubicBezTo>
                      <a:cubicBezTo>
                        <a:pt x="434131" y="411128"/>
                        <a:pt x="757650" y="224652"/>
                        <a:pt x="1081168" y="38176"/>
                      </a:cubicBezTo>
                      <a:cubicBezTo>
                        <a:pt x="1100256" y="27898"/>
                        <a:pt x="1120813" y="17620"/>
                        <a:pt x="1135007" y="0"/>
                      </a:cubicBezTo>
                      <a:close/>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1" name="Graphic 2">
                  <a:extLst>
                    <a:ext uri="{FF2B5EF4-FFF2-40B4-BE49-F238E27FC236}">
                      <a16:creationId xmlns:a16="http://schemas.microsoft.com/office/drawing/2014/main" id="{83379A9E-20C0-468B-9FA5-B887B1F2189D}"/>
                    </a:ext>
                  </a:extLst>
                </p:cNvPr>
                <p:cNvSpPr/>
                <p:nvPr/>
              </p:nvSpPr>
              <p:spPr>
                <a:xfrm>
                  <a:off x="8870251" y="3615233"/>
                  <a:ext cx="60121" cy="35068"/>
                </a:xfrm>
                <a:custGeom>
                  <a:avLst/>
                  <a:gdLst>
                    <a:gd name="connsiteX0" fmla="*/ 233951 w 903012"/>
                    <a:gd name="connsiteY0" fmla="*/ 2539 h 526727"/>
                    <a:gd name="connsiteX1" fmla="*/ 251571 w 903012"/>
                    <a:gd name="connsiteY1" fmla="*/ 4497 h 526727"/>
                    <a:gd name="connsiteX2" fmla="*/ 761076 w 903012"/>
                    <a:gd name="connsiteY2" fmla="*/ 299628 h 526727"/>
                    <a:gd name="connsiteX3" fmla="*/ 903013 w 903012"/>
                    <a:gd name="connsiteY3" fmla="*/ 382833 h 526727"/>
                    <a:gd name="connsiteX4" fmla="*/ 713600 w 903012"/>
                    <a:gd name="connsiteY4" fmla="*/ 426882 h 526727"/>
                    <a:gd name="connsiteX5" fmla="*/ 671019 w 903012"/>
                    <a:gd name="connsiteY5" fmla="*/ 526727 h 526727"/>
                    <a:gd name="connsiteX6" fmla="*/ 452730 w 903012"/>
                    <a:gd name="connsiteY6" fmla="*/ 401431 h 526727"/>
                    <a:gd name="connsiteX7" fmla="*/ 214863 w 903012"/>
                    <a:gd name="connsiteY7" fmla="*/ 262920 h 526727"/>
                    <a:gd name="connsiteX8" fmla="*/ 0 w 903012"/>
                    <a:gd name="connsiteY8" fmla="*/ 138603 h 526727"/>
                    <a:gd name="connsiteX9" fmla="*/ 233951 w 903012"/>
                    <a:gd name="connsiteY9" fmla="*/ 2539 h 52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012" h="526727">
                      <a:moveTo>
                        <a:pt x="233951" y="2539"/>
                      </a:moveTo>
                      <a:cubicBezTo>
                        <a:pt x="239335" y="-2845"/>
                        <a:pt x="246187" y="1560"/>
                        <a:pt x="251571" y="4497"/>
                      </a:cubicBezTo>
                      <a:cubicBezTo>
                        <a:pt x="421895" y="102385"/>
                        <a:pt x="590751" y="202230"/>
                        <a:pt x="761076" y="299628"/>
                      </a:cubicBezTo>
                      <a:cubicBezTo>
                        <a:pt x="808062" y="327526"/>
                        <a:pt x="857006" y="352977"/>
                        <a:pt x="903013" y="382833"/>
                      </a:cubicBezTo>
                      <a:cubicBezTo>
                        <a:pt x="838407" y="382343"/>
                        <a:pt x="765481" y="381364"/>
                        <a:pt x="713600" y="426882"/>
                      </a:cubicBezTo>
                      <a:cubicBezTo>
                        <a:pt x="684234" y="451354"/>
                        <a:pt x="674935" y="490019"/>
                        <a:pt x="671019" y="526727"/>
                      </a:cubicBezTo>
                      <a:cubicBezTo>
                        <a:pt x="597604" y="486104"/>
                        <a:pt x="525656" y="443033"/>
                        <a:pt x="452730" y="401431"/>
                      </a:cubicBezTo>
                      <a:cubicBezTo>
                        <a:pt x="373441" y="354935"/>
                        <a:pt x="293173" y="310396"/>
                        <a:pt x="214863" y="262920"/>
                      </a:cubicBezTo>
                      <a:cubicBezTo>
                        <a:pt x="143405" y="221318"/>
                        <a:pt x="71458" y="180695"/>
                        <a:pt x="0" y="138603"/>
                      </a:cubicBezTo>
                      <a:cubicBezTo>
                        <a:pt x="77331" y="92596"/>
                        <a:pt x="155641" y="48057"/>
                        <a:pt x="233951" y="2539"/>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2" name="Graphic 2">
                  <a:extLst>
                    <a:ext uri="{FF2B5EF4-FFF2-40B4-BE49-F238E27FC236}">
                      <a16:creationId xmlns:a16="http://schemas.microsoft.com/office/drawing/2014/main" id="{EA07A4D5-22FF-474F-A5B9-176D0837343E}"/>
                    </a:ext>
                  </a:extLst>
                </p:cNvPr>
                <p:cNvSpPr/>
                <p:nvPr/>
              </p:nvSpPr>
              <p:spPr>
                <a:xfrm>
                  <a:off x="8870056" y="3624363"/>
                  <a:ext cx="193527" cy="167654"/>
                </a:xfrm>
                <a:custGeom>
                  <a:avLst/>
                  <a:gdLst>
                    <a:gd name="connsiteX0" fmla="*/ 0 w 2906771"/>
                    <a:gd name="connsiteY0" fmla="*/ 0 h 2518157"/>
                    <a:gd name="connsiteX1" fmla="*/ 2447 w 2906771"/>
                    <a:gd name="connsiteY1" fmla="*/ 1468 h 2518157"/>
                    <a:gd name="connsiteX2" fmla="*/ 217310 w 2906771"/>
                    <a:gd name="connsiteY2" fmla="*/ 125786 h 2518157"/>
                    <a:gd name="connsiteX3" fmla="*/ 455177 w 2906771"/>
                    <a:gd name="connsiteY3" fmla="*/ 264296 h 2518157"/>
                    <a:gd name="connsiteX4" fmla="*/ 673467 w 2906771"/>
                    <a:gd name="connsiteY4" fmla="*/ 389593 h 2518157"/>
                    <a:gd name="connsiteX5" fmla="*/ 716048 w 2906771"/>
                    <a:gd name="connsiteY5" fmla="*/ 289747 h 2518157"/>
                    <a:gd name="connsiteX6" fmla="*/ 905460 w 2906771"/>
                    <a:gd name="connsiteY6" fmla="*/ 245698 h 2518157"/>
                    <a:gd name="connsiteX7" fmla="*/ 916717 w 2906771"/>
                    <a:gd name="connsiteY7" fmla="*/ 247166 h 2518157"/>
                    <a:gd name="connsiteX8" fmla="*/ 1042992 w 2906771"/>
                    <a:gd name="connsiteY8" fmla="*/ 272617 h 2518157"/>
                    <a:gd name="connsiteX9" fmla="*/ 1482018 w 2906771"/>
                    <a:gd name="connsiteY9" fmla="*/ 467903 h 2518157"/>
                    <a:gd name="connsiteX10" fmla="*/ 1891188 w 2906771"/>
                    <a:gd name="connsiteY10" fmla="*/ 771354 h 2518157"/>
                    <a:gd name="connsiteX11" fmla="*/ 2150101 w 2906771"/>
                    <a:gd name="connsiteY11" fmla="*/ 1068443 h 2518157"/>
                    <a:gd name="connsiteX12" fmla="*/ 2232816 w 2906771"/>
                    <a:gd name="connsiteY12" fmla="*/ 1289669 h 2518157"/>
                    <a:gd name="connsiteX13" fmla="*/ 2354196 w 2906771"/>
                    <a:gd name="connsiteY13" fmla="*/ 1360637 h 2518157"/>
                    <a:gd name="connsiteX14" fmla="*/ 2905303 w 2906771"/>
                    <a:gd name="connsiteY14" fmla="*/ 1678282 h 2518157"/>
                    <a:gd name="connsiteX15" fmla="*/ 2906282 w 2906771"/>
                    <a:gd name="connsiteY15" fmla="*/ 1786448 h 2518157"/>
                    <a:gd name="connsiteX16" fmla="*/ 2906772 w 2906771"/>
                    <a:gd name="connsiteY16" fmla="*/ 2518158 h 2518157"/>
                    <a:gd name="connsiteX17" fmla="*/ 1120813 w 2906771"/>
                    <a:gd name="connsiteY17" fmla="*/ 1486423 h 2518157"/>
                    <a:gd name="connsiteX18" fmla="*/ 194307 w 2906771"/>
                    <a:gd name="connsiteY18" fmla="*/ 951957 h 2518157"/>
                    <a:gd name="connsiteX19" fmla="*/ 0 w 2906771"/>
                    <a:gd name="connsiteY19" fmla="*/ 841344 h 2518157"/>
                    <a:gd name="connsiteX20" fmla="*/ 489 w 2906771"/>
                    <a:gd name="connsiteY20" fmla="*/ 114039 h 2518157"/>
                    <a:gd name="connsiteX21" fmla="*/ 0 w 2906771"/>
                    <a:gd name="connsiteY21" fmla="*/ 0 h 251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06771" h="2518157">
                      <a:moveTo>
                        <a:pt x="0" y="0"/>
                      </a:moveTo>
                      <a:lnTo>
                        <a:pt x="2447" y="1468"/>
                      </a:lnTo>
                      <a:cubicBezTo>
                        <a:pt x="73905" y="43560"/>
                        <a:pt x="145363" y="84183"/>
                        <a:pt x="217310" y="125786"/>
                      </a:cubicBezTo>
                      <a:cubicBezTo>
                        <a:pt x="295620" y="173261"/>
                        <a:pt x="375888" y="217800"/>
                        <a:pt x="455177" y="264296"/>
                      </a:cubicBezTo>
                      <a:cubicBezTo>
                        <a:pt x="528103" y="305899"/>
                        <a:pt x="600051" y="348969"/>
                        <a:pt x="673467" y="389593"/>
                      </a:cubicBezTo>
                      <a:cubicBezTo>
                        <a:pt x="677382" y="353374"/>
                        <a:pt x="686681" y="314219"/>
                        <a:pt x="716048" y="289747"/>
                      </a:cubicBezTo>
                      <a:cubicBezTo>
                        <a:pt x="767439" y="244229"/>
                        <a:pt x="840854" y="245208"/>
                        <a:pt x="905460" y="245698"/>
                      </a:cubicBezTo>
                      <a:cubicBezTo>
                        <a:pt x="909376" y="246187"/>
                        <a:pt x="913291" y="246677"/>
                        <a:pt x="916717" y="247166"/>
                      </a:cubicBezTo>
                      <a:cubicBezTo>
                        <a:pt x="958809" y="254508"/>
                        <a:pt x="1001879" y="260381"/>
                        <a:pt x="1042992" y="272617"/>
                      </a:cubicBezTo>
                      <a:cubicBezTo>
                        <a:pt x="1198144" y="315198"/>
                        <a:pt x="1343996" y="386166"/>
                        <a:pt x="1482018" y="467903"/>
                      </a:cubicBezTo>
                      <a:cubicBezTo>
                        <a:pt x="1628360" y="555023"/>
                        <a:pt x="1765403" y="656336"/>
                        <a:pt x="1891188" y="771354"/>
                      </a:cubicBezTo>
                      <a:cubicBezTo>
                        <a:pt x="1987607" y="860432"/>
                        <a:pt x="2078643" y="957830"/>
                        <a:pt x="2150101" y="1068443"/>
                      </a:cubicBezTo>
                      <a:cubicBezTo>
                        <a:pt x="2191703" y="1135496"/>
                        <a:pt x="2229390" y="1209401"/>
                        <a:pt x="2232816" y="1289669"/>
                      </a:cubicBezTo>
                      <a:cubicBezTo>
                        <a:pt x="2272460" y="1314141"/>
                        <a:pt x="2314062" y="1336655"/>
                        <a:pt x="2354196" y="1360637"/>
                      </a:cubicBezTo>
                      <a:cubicBezTo>
                        <a:pt x="2538225" y="1466356"/>
                        <a:pt x="2721275" y="1573053"/>
                        <a:pt x="2905303" y="1678282"/>
                      </a:cubicBezTo>
                      <a:cubicBezTo>
                        <a:pt x="2907261" y="1714501"/>
                        <a:pt x="2906282" y="1750719"/>
                        <a:pt x="2906282" y="1786448"/>
                      </a:cubicBezTo>
                      <a:cubicBezTo>
                        <a:pt x="2906772" y="2030188"/>
                        <a:pt x="2905793" y="2273928"/>
                        <a:pt x="2906772" y="2518158"/>
                      </a:cubicBezTo>
                      <a:cubicBezTo>
                        <a:pt x="2312105" y="2174083"/>
                        <a:pt x="1716459" y="1830498"/>
                        <a:pt x="1120813" y="1486423"/>
                      </a:cubicBezTo>
                      <a:cubicBezTo>
                        <a:pt x="811977" y="1308757"/>
                        <a:pt x="503632" y="1129133"/>
                        <a:pt x="194307" y="951957"/>
                      </a:cubicBezTo>
                      <a:cubicBezTo>
                        <a:pt x="129212" y="915249"/>
                        <a:pt x="66074" y="876094"/>
                        <a:pt x="0" y="841344"/>
                      </a:cubicBezTo>
                      <a:cubicBezTo>
                        <a:pt x="1468" y="599072"/>
                        <a:pt x="0" y="356311"/>
                        <a:pt x="489" y="114039"/>
                      </a:cubicBezTo>
                      <a:cubicBezTo>
                        <a:pt x="489" y="76352"/>
                        <a:pt x="979" y="38176"/>
                        <a:pt x="0" y="0"/>
                      </a:cubicBezTo>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3" name="Graphic 2">
                  <a:extLst>
                    <a:ext uri="{FF2B5EF4-FFF2-40B4-BE49-F238E27FC236}">
                      <a16:creationId xmlns:a16="http://schemas.microsoft.com/office/drawing/2014/main" id="{C83B4C53-3D1B-4A8B-AABA-C1FEB1E5B75B}"/>
                    </a:ext>
                  </a:extLst>
                </p:cNvPr>
                <p:cNvSpPr/>
                <p:nvPr/>
              </p:nvSpPr>
              <p:spPr>
                <a:xfrm>
                  <a:off x="8821731" y="3689469"/>
                  <a:ext cx="48455" cy="65497"/>
                </a:xfrm>
                <a:custGeom>
                  <a:avLst/>
                  <a:gdLst>
                    <a:gd name="connsiteX0" fmla="*/ 485522 w 727794"/>
                    <a:gd name="connsiteY0" fmla="*/ 0 h 983769"/>
                    <a:gd name="connsiteX1" fmla="*/ 487970 w 727794"/>
                    <a:gd name="connsiteY1" fmla="*/ 1468 h 983769"/>
                    <a:gd name="connsiteX2" fmla="*/ 727794 w 727794"/>
                    <a:gd name="connsiteY2" fmla="*/ 141937 h 983769"/>
                    <a:gd name="connsiteX3" fmla="*/ 611308 w 727794"/>
                    <a:gd name="connsiteY3" fmla="*/ 342117 h 983769"/>
                    <a:gd name="connsiteX4" fmla="*/ 244719 w 727794"/>
                    <a:gd name="connsiteY4" fmla="*/ 976428 h 983769"/>
                    <a:gd name="connsiteX5" fmla="*/ 241782 w 727794"/>
                    <a:gd name="connsiteY5" fmla="*/ 983770 h 983769"/>
                    <a:gd name="connsiteX6" fmla="*/ 95930 w 727794"/>
                    <a:gd name="connsiteY6" fmla="*/ 899587 h 983769"/>
                    <a:gd name="connsiteX7" fmla="*/ 0 w 727794"/>
                    <a:gd name="connsiteY7" fmla="*/ 841344 h 983769"/>
                    <a:gd name="connsiteX8" fmla="*/ 485522 w 727794"/>
                    <a:gd name="connsiteY8" fmla="*/ 0 h 98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7794" h="983769">
                      <a:moveTo>
                        <a:pt x="485522" y="0"/>
                      </a:moveTo>
                      <a:lnTo>
                        <a:pt x="487970" y="1468"/>
                      </a:lnTo>
                      <a:cubicBezTo>
                        <a:pt x="567259" y="49433"/>
                        <a:pt x="648995" y="93483"/>
                        <a:pt x="727794" y="141937"/>
                      </a:cubicBezTo>
                      <a:cubicBezTo>
                        <a:pt x="687171" y="207522"/>
                        <a:pt x="650463" y="275553"/>
                        <a:pt x="611308" y="342117"/>
                      </a:cubicBezTo>
                      <a:cubicBezTo>
                        <a:pt x="488949" y="553554"/>
                        <a:pt x="367568" y="764991"/>
                        <a:pt x="244719" y="976428"/>
                      </a:cubicBezTo>
                      <a:cubicBezTo>
                        <a:pt x="244230" y="978386"/>
                        <a:pt x="242761" y="982302"/>
                        <a:pt x="241782" y="983770"/>
                      </a:cubicBezTo>
                      <a:cubicBezTo>
                        <a:pt x="193328" y="955872"/>
                        <a:pt x="144384" y="927485"/>
                        <a:pt x="95930" y="899587"/>
                      </a:cubicBezTo>
                      <a:cubicBezTo>
                        <a:pt x="63627" y="880499"/>
                        <a:pt x="29856" y="863858"/>
                        <a:pt x="0" y="841344"/>
                      </a:cubicBezTo>
                      <a:cubicBezTo>
                        <a:pt x="162004" y="560406"/>
                        <a:pt x="324497" y="280448"/>
                        <a:pt x="485522"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4" name="Graphic 2">
                  <a:extLst>
                    <a:ext uri="{FF2B5EF4-FFF2-40B4-BE49-F238E27FC236}">
                      <a16:creationId xmlns:a16="http://schemas.microsoft.com/office/drawing/2014/main" id="{7A9BAFA4-5F15-4889-8F0B-3CA529CE2814}"/>
                    </a:ext>
                  </a:extLst>
                </p:cNvPr>
                <p:cNvSpPr/>
                <p:nvPr/>
              </p:nvSpPr>
              <p:spPr>
                <a:xfrm>
                  <a:off x="9031340" y="3689697"/>
                  <a:ext cx="241834" cy="195319"/>
                </a:xfrm>
                <a:custGeom>
                  <a:avLst/>
                  <a:gdLst>
                    <a:gd name="connsiteX0" fmla="*/ 1857642 w 3632343"/>
                    <a:gd name="connsiteY0" fmla="*/ 1025372 h 2933690"/>
                    <a:gd name="connsiteX1" fmla="*/ 3632344 w 3632343"/>
                    <a:gd name="connsiteY1" fmla="*/ 0 h 2933690"/>
                    <a:gd name="connsiteX2" fmla="*/ 3631854 w 3632343"/>
                    <a:gd name="connsiteY2" fmla="*/ 272617 h 2933690"/>
                    <a:gd name="connsiteX3" fmla="*/ 3618150 w 3632343"/>
                    <a:gd name="connsiteY3" fmla="*/ 287300 h 2933690"/>
                    <a:gd name="connsiteX4" fmla="*/ 3390561 w 3632343"/>
                    <a:gd name="connsiteY4" fmla="*/ 417980 h 2933690"/>
                    <a:gd name="connsiteX5" fmla="*/ 3177166 w 3632343"/>
                    <a:gd name="connsiteY5" fmla="*/ 539850 h 2933690"/>
                    <a:gd name="connsiteX6" fmla="*/ 1074052 w 3632343"/>
                    <a:gd name="connsiteY6" fmla="*/ 1754145 h 2933690"/>
                    <a:gd name="connsiteX7" fmla="*/ 484769 w 3632343"/>
                    <a:gd name="connsiteY7" fmla="*/ 2093815 h 2933690"/>
                    <a:gd name="connsiteX8" fmla="*/ 484279 w 3632343"/>
                    <a:gd name="connsiteY8" fmla="*/ 2376221 h 2933690"/>
                    <a:gd name="connsiteX9" fmla="*/ 482811 w 3632343"/>
                    <a:gd name="connsiteY9" fmla="*/ 2658137 h 2933690"/>
                    <a:gd name="connsiteX10" fmla="*/ 390307 w 3632343"/>
                    <a:gd name="connsiteY10" fmla="*/ 2709528 h 2933690"/>
                    <a:gd name="connsiteX11" fmla="*/ 245433 w 3632343"/>
                    <a:gd name="connsiteY11" fmla="*/ 2793222 h 2933690"/>
                    <a:gd name="connsiteX12" fmla="*/ 240050 w 3632343"/>
                    <a:gd name="connsiteY12" fmla="*/ 2796648 h 2933690"/>
                    <a:gd name="connsiteX13" fmla="*/ 714 w 3632343"/>
                    <a:gd name="connsiteY13" fmla="*/ 2933691 h 2933690"/>
                    <a:gd name="connsiteX14" fmla="*/ 225 w 3632343"/>
                    <a:gd name="connsiteY14" fmla="*/ 2711486 h 2933690"/>
                    <a:gd name="connsiteX15" fmla="*/ 9035 w 3632343"/>
                    <a:gd name="connsiteY15" fmla="*/ 2640517 h 2933690"/>
                    <a:gd name="connsiteX16" fmla="*/ 305145 w 3632343"/>
                    <a:gd name="connsiteY16" fmla="*/ 2128076 h 2933690"/>
                    <a:gd name="connsiteX17" fmla="*/ 440719 w 3632343"/>
                    <a:gd name="connsiteY17" fmla="*/ 1891677 h 2933690"/>
                    <a:gd name="connsiteX18" fmla="*/ 488684 w 3632343"/>
                    <a:gd name="connsiteY18" fmla="*/ 1814836 h 2933690"/>
                    <a:gd name="connsiteX19" fmla="*/ 1857642 w 3632343"/>
                    <a:gd name="connsiteY19" fmla="*/ 1025372 h 293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32343" h="2933690">
                      <a:moveTo>
                        <a:pt x="1857642" y="1025372"/>
                      </a:moveTo>
                      <a:cubicBezTo>
                        <a:pt x="2449373" y="683745"/>
                        <a:pt x="3041103" y="342607"/>
                        <a:pt x="3632344" y="0"/>
                      </a:cubicBezTo>
                      <a:cubicBezTo>
                        <a:pt x="3631854" y="91035"/>
                        <a:pt x="3632344" y="181581"/>
                        <a:pt x="3631854" y="272617"/>
                      </a:cubicBezTo>
                      <a:cubicBezTo>
                        <a:pt x="3632833" y="280937"/>
                        <a:pt x="3623044" y="283385"/>
                        <a:pt x="3618150" y="287300"/>
                      </a:cubicBezTo>
                      <a:cubicBezTo>
                        <a:pt x="3541798" y="330371"/>
                        <a:pt x="3466914" y="375399"/>
                        <a:pt x="3390561" y="417980"/>
                      </a:cubicBezTo>
                      <a:cubicBezTo>
                        <a:pt x="3318614" y="457135"/>
                        <a:pt x="3248624" y="499716"/>
                        <a:pt x="3177166" y="539850"/>
                      </a:cubicBezTo>
                      <a:cubicBezTo>
                        <a:pt x="2476292" y="944615"/>
                        <a:pt x="1774927" y="1349380"/>
                        <a:pt x="1074052" y="1754145"/>
                      </a:cubicBezTo>
                      <a:cubicBezTo>
                        <a:pt x="877298" y="1867205"/>
                        <a:pt x="681523" y="1981734"/>
                        <a:pt x="484769" y="2093815"/>
                      </a:cubicBezTo>
                      <a:cubicBezTo>
                        <a:pt x="483300" y="2187787"/>
                        <a:pt x="484769" y="2282249"/>
                        <a:pt x="484279" y="2376221"/>
                      </a:cubicBezTo>
                      <a:cubicBezTo>
                        <a:pt x="483300" y="2470193"/>
                        <a:pt x="486237" y="2564165"/>
                        <a:pt x="482811" y="2658137"/>
                      </a:cubicBezTo>
                      <a:cubicBezTo>
                        <a:pt x="450508" y="2672820"/>
                        <a:pt x="421142" y="2692398"/>
                        <a:pt x="390307" y="2709528"/>
                      </a:cubicBezTo>
                      <a:cubicBezTo>
                        <a:pt x="342342" y="2737426"/>
                        <a:pt x="293399" y="2764835"/>
                        <a:pt x="245433" y="2793222"/>
                      </a:cubicBezTo>
                      <a:cubicBezTo>
                        <a:pt x="243965" y="2794201"/>
                        <a:pt x="241029" y="2795669"/>
                        <a:pt x="240050" y="2796648"/>
                      </a:cubicBezTo>
                      <a:cubicBezTo>
                        <a:pt x="159782" y="2841676"/>
                        <a:pt x="80982" y="2889152"/>
                        <a:pt x="714" y="2933691"/>
                      </a:cubicBezTo>
                      <a:cubicBezTo>
                        <a:pt x="-264" y="2859296"/>
                        <a:pt x="714" y="2785391"/>
                        <a:pt x="225" y="2711486"/>
                      </a:cubicBezTo>
                      <a:cubicBezTo>
                        <a:pt x="714" y="2687993"/>
                        <a:pt x="-3201" y="2662053"/>
                        <a:pt x="9035" y="2640517"/>
                      </a:cubicBezTo>
                      <a:cubicBezTo>
                        <a:pt x="107901" y="2469704"/>
                        <a:pt x="206278" y="2298890"/>
                        <a:pt x="305145" y="2128076"/>
                      </a:cubicBezTo>
                      <a:cubicBezTo>
                        <a:pt x="351152" y="2049766"/>
                        <a:pt x="394712" y="1969987"/>
                        <a:pt x="440719" y="1891677"/>
                      </a:cubicBezTo>
                      <a:cubicBezTo>
                        <a:pt x="456381" y="1866227"/>
                        <a:pt x="468128" y="1837350"/>
                        <a:pt x="488684" y="1814836"/>
                      </a:cubicBezTo>
                      <a:cubicBezTo>
                        <a:pt x="945330" y="1552497"/>
                        <a:pt x="1401486" y="1288690"/>
                        <a:pt x="1857642" y="1025372"/>
                      </a:cubicBezTo>
                      <a:close/>
                    </a:path>
                  </a:pathLst>
                </a:custGeom>
                <a:solidFill>
                  <a:srgbClr val="6D6D6D"/>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5" name="Graphic 2">
                  <a:extLst>
                    <a:ext uri="{FF2B5EF4-FFF2-40B4-BE49-F238E27FC236}">
                      <a16:creationId xmlns:a16="http://schemas.microsoft.com/office/drawing/2014/main" id="{F726A68C-8435-4A5B-B490-1F83934EBD3E}"/>
                    </a:ext>
                  </a:extLst>
                </p:cNvPr>
                <p:cNvSpPr/>
                <p:nvPr/>
              </p:nvSpPr>
              <p:spPr>
                <a:xfrm>
                  <a:off x="8838024" y="3698919"/>
                  <a:ext cx="48194" cy="65041"/>
                </a:xfrm>
                <a:custGeom>
                  <a:avLst/>
                  <a:gdLst>
                    <a:gd name="connsiteX0" fmla="*/ 366589 w 723878"/>
                    <a:gd name="connsiteY0" fmla="*/ 200180 h 976917"/>
                    <a:gd name="connsiteX1" fmla="*/ 483075 w 723878"/>
                    <a:gd name="connsiteY1" fmla="*/ 0 h 976917"/>
                    <a:gd name="connsiteX2" fmla="*/ 723879 w 723878"/>
                    <a:gd name="connsiteY2" fmla="*/ 139000 h 976917"/>
                    <a:gd name="connsiteX3" fmla="*/ 241293 w 723878"/>
                    <a:gd name="connsiteY3" fmla="*/ 976918 h 976917"/>
                    <a:gd name="connsiteX4" fmla="*/ 78310 w 723878"/>
                    <a:gd name="connsiteY4" fmla="*/ 884414 h 976917"/>
                    <a:gd name="connsiteX5" fmla="*/ 0 w 723878"/>
                    <a:gd name="connsiteY5" fmla="*/ 834002 h 976917"/>
                    <a:gd name="connsiteX6" fmla="*/ 366589 w 723878"/>
                    <a:gd name="connsiteY6" fmla="*/ 200180 h 97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878" h="976917">
                      <a:moveTo>
                        <a:pt x="366589" y="200180"/>
                      </a:moveTo>
                      <a:cubicBezTo>
                        <a:pt x="405744" y="133616"/>
                        <a:pt x="442941" y="65585"/>
                        <a:pt x="483075" y="0"/>
                      </a:cubicBezTo>
                      <a:cubicBezTo>
                        <a:pt x="562854" y="46986"/>
                        <a:pt x="643121" y="93483"/>
                        <a:pt x="723879" y="139000"/>
                      </a:cubicBezTo>
                      <a:cubicBezTo>
                        <a:pt x="564322" y="418959"/>
                        <a:pt x="401339" y="696960"/>
                        <a:pt x="241293" y="976918"/>
                      </a:cubicBezTo>
                      <a:cubicBezTo>
                        <a:pt x="185986" y="948041"/>
                        <a:pt x="132638" y="915249"/>
                        <a:pt x="78310" y="884414"/>
                      </a:cubicBezTo>
                      <a:cubicBezTo>
                        <a:pt x="51880" y="867773"/>
                        <a:pt x="22025" y="856516"/>
                        <a:pt x="0" y="834002"/>
                      </a:cubicBezTo>
                      <a:cubicBezTo>
                        <a:pt x="122849" y="623055"/>
                        <a:pt x="244230" y="411128"/>
                        <a:pt x="366589" y="200180"/>
                      </a:cubicBezTo>
                      <a:close/>
                    </a:path>
                  </a:pathLst>
                </a:custGeom>
                <a:solidFill>
                  <a:srgbClr val="FFFFFF"/>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6" name="Graphic 2">
                  <a:extLst>
                    <a:ext uri="{FF2B5EF4-FFF2-40B4-BE49-F238E27FC236}">
                      <a16:creationId xmlns:a16="http://schemas.microsoft.com/office/drawing/2014/main" id="{1E495363-F049-4144-9DFE-D0CF6ACCA86E}"/>
                    </a:ext>
                  </a:extLst>
                </p:cNvPr>
                <p:cNvSpPr/>
                <p:nvPr/>
              </p:nvSpPr>
              <p:spPr>
                <a:xfrm>
                  <a:off x="8853991" y="3708174"/>
                  <a:ext cx="48390" cy="65237"/>
                </a:xfrm>
                <a:custGeom>
                  <a:avLst/>
                  <a:gdLst>
                    <a:gd name="connsiteX0" fmla="*/ 484054 w 726815"/>
                    <a:gd name="connsiteY0" fmla="*/ 0 h 979854"/>
                    <a:gd name="connsiteX1" fmla="*/ 726815 w 726815"/>
                    <a:gd name="connsiteY1" fmla="*/ 140469 h 979854"/>
                    <a:gd name="connsiteX2" fmla="*/ 456646 w 726815"/>
                    <a:gd name="connsiteY2" fmla="*/ 607392 h 979854"/>
                    <a:gd name="connsiteX3" fmla="*/ 242761 w 726815"/>
                    <a:gd name="connsiteY3" fmla="*/ 979855 h 979854"/>
                    <a:gd name="connsiteX4" fmla="*/ 239825 w 726815"/>
                    <a:gd name="connsiteY4" fmla="*/ 978386 h 979854"/>
                    <a:gd name="connsiteX5" fmla="*/ 147321 w 726815"/>
                    <a:gd name="connsiteY5" fmla="*/ 927485 h 979854"/>
                    <a:gd name="connsiteX6" fmla="*/ 0 w 726815"/>
                    <a:gd name="connsiteY6" fmla="*/ 844280 h 979854"/>
                    <a:gd name="connsiteX7" fmla="*/ 979 w 726815"/>
                    <a:gd name="connsiteY7" fmla="*/ 837428 h 979854"/>
                    <a:gd name="connsiteX8" fmla="*/ 484054 w 726815"/>
                    <a:gd name="connsiteY8" fmla="*/ 0 h 979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815" h="979854">
                      <a:moveTo>
                        <a:pt x="484054" y="0"/>
                      </a:moveTo>
                      <a:cubicBezTo>
                        <a:pt x="565790" y="45028"/>
                        <a:pt x="647037" y="91525"/>
                        <a:pt x="726815" y="140469"/>
                      </a:cubicBezTo>
                      <a:cubicBezTo>
                        <a:pt x="636269" y="295620"/>
                        <a:pt x="546702" y="451751"/>
                        <a:pt x="456646" y="607392"/>
                      </a:cubicBezTo>
                      <a:cubicBezTo>
                        <a:pt x="385677" y="731710"/>
                        <a:pt x="312261" y="855048"/>
                        <a:pt x="242761" y="979855"/>
                      </a:cubicBezTo>
                      <a:lnTo>
                        <a:pt x="239825" y="978386"/>
                      </a:lnTo>
                      <a:cubicBezTo>
                        <a:pt x="207522" y="964682"/>
                        <a:pt x="178155" y="944615"/>
                        <a:pt x="147321" y="927485"/>
                      </a:cubicBezTo>
                      <a:cubicBezTo>
                        <a:pt x="98377" y="899587"/>
                        <a:pt x="50412" y="869731"/>
                        <a:pt x="0" y="844280"/>
                      </a:cubicBezTo>
                      <a:cubicBezTo>
                        <a:pt x="0" y="842812"/>
                        <a:pt x="979" y="839386"/>
                        <a:pt x="979" y="837428"/>
                      </a:cubicBezTo>
                      <a:cubicBezTo>
                        <a:pt x="162004" y="558449"/>
                        <a:pt x="324497" y="279959"/>
                        <a:pt x="484054"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7" name="Graphic 2">
                  <a:extLst>
                    <a:ext uri="{FF2B5EF4-FFF2-40B4-BE49-F238E27FC236}">
                      <a16:creationId xmlns:a16="http://schemas.microsoft.com/office/drawing/2014/main" id="{8FA04EDA-81B1-4610-8BD5-3F6D51F60891}"/>
                    </a:ext>
                  </a:extLst>
                </p:cNvPr>
                <p:cNvSpPr/>
                <p:nvPr/>
              </p:nvSpPr>
              <p:spPr>
                <a:xfrm>
                  <a:off x="8870218" y="3717526"/>
                  <a:ext cx="48259" cy="65009"/>
                </a:xfrm>
                <a:custGeom>
                  <a:avLst/>
                  <a:gdLst>
                    <a:gd name="connsiteX0" fmla="*/ 213395 w 724857"/>
                    <a:gd name="connsiteY0" fmla="*/ 466924 h 976428"/>
                    <a:gd name="connsiteX1" fmla="*/ 483565 w 724857"/>
                    <a:gd name="connsiteY1" fmla="*/ 0 h 976428"/>
                    <a:gd name="connsiteX2" fmla="*/ 724858 w 724857"/>
                    <a:gd name="connsiteY2" fmla="*/ 139000 h 976428"/>
                    <a:gd name="connsiteX3" fmla="*/ 475734 w 724857"/>
                    <a:gd name="connsiteY3" fmla="*/ 572642 h 976428"/>
                    <a:gd name="connsiteX4" fmla="*/ 242761 w 724857"/>
                    <a:gd name="connsiteY4" fmla="*/ 976429 h 976428"/>
                    <a:gd name="connsiteX5" fmla="*/ 137043 w 724857"/>
                    <a:gd name="connsiteY5" fmla="*/ 917696 h 976428"/>
                    <a:gd name="connsiteX6" fmla="*/ 0 w 724857"/>
                    <a:gd name="connsiteY6" fmla="*/ 839386 h 976428"/>
                    <a:gd name="connsiteX7" fmla="*/ 213395 w 724857"/>
                    <a:gd name="connsiteY7" fmla="*/ 466924 h 97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4857" h="976428">
                      <a:moveTo>
                        <a:pt x="213395" y="466924"/>
                      </a:moveTo>
                      <a:cubicBezTo>
                        <a:pt x="303452" y="311282"/>
                        <a:pt x="392529" y="155152"/>
                        <a:pt x="483565" y="0"/>
                      </a:cubicBezTo>
                      <a:cubicBezTo>
                        <a:pt x="563833" y="46497"/>
                        <a:pt x="644100" y="93483"/>
                        <a:pt x="724858" y="139000"/>
                      </a:cubicBezTo>
                      <a:cubicBezTo>
                        <a:pt x="643121" y="284363"/>
                        <a:pt x="558449" y="427769"/>
                        <a:pt x="475734" y="572642"/>
                      </a:cubicBezTo>
                      <a:cubicBezTo>
                        <a:pt x="397913" y="707238"/>
                        <a:pt x="320092" y="841833"/>
                        <a:pt x="242761" y="976429"/>
                      </a:cubicBezTo>
                      <a:cubicBezTo>
                        <a:pt x="206053" y="959788"/>
                        <a:pt x="172282" y="937274"/>
                        <a:pt x="137043" y="917696"/>
                      </a:cubicBezTo>
                      <a:cubicBezTo>
                        <a:pt x="91035" y="891756"/>
                        <a:pt x="46497" y="863858"/>
                        <a:pt x="0" y="839386"/>
                      </a:cubicBezTo>
                      <a:cubicBezTo>
                        <a:pt x="69011" y="714579"/>
                        <a:pt x="142426" y="591241"/>
                        <a:pt x="213395" y="466924"/>
                      </a:cubicBezTo>
                      <a:close/>
                    </a:path>
                  </a:pathLst>
                </a:custGeom>
                <a:solidFill>
                  <a:srgbClr val="FFFFFF"/>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8" name="Graphic 2">
                  <a:extLst>
                    <a:ext uri="{FF2B5EF4-FFF2-40B4-BE49-F238E27FC236}">
                      <a16:creationId xmlns:a16="http://schemas.microsoft.com/office/drawing/2014/main" id="{2E521340-F6BC-44B6-BF07-670A73734B31}"/>
                    </a:ext>
                  </a:extLst>
                </p:cNvPr>
                <p:cNvSpPr/>
                <p:nvPr/>
              </p:nvSpPr>
              <p:spPr>
                <a:xfrm>
                  <a:off x="9063603" y="3717526"/>
                  <a:ext cx="193531" cy="130408"/>
                </a:xfrm>
                <a:custGeom>
                  <a:avLst/>
                  <a:gdLst>
                    <a:gd name="connsiteX0" fmla="*/ 2693070 w 2906832"/>
                    <a:gd name="connsiteY0" fmla="*/ 121870 h 1958730"/>
                    <a:gd name="connsiteX1" fmla="*/ 2906466 w 2906832"/>
                    <a:gd name="connsiteY1" fmla="*/ 0 h 1958730"/>
                    <a:gd name="connsiteX2" fmla="*/ 2906466 w 2906832"/>
                    <a:gd name="connsiteY2" fmla="*/ 280937 h 1958730"/>
                    <a:gd name="connsiteX3" fmla="*/ 2006389 w 2906832"/>
                    <a:gd name="connsiteY3" fmla="*/ 800231 h 1958730"/>
                    <a:gd name="connsiteX4" fmla="*/ 183 w 2906832"/>
                    <a:gd name="connsiteY4" fmla="*/ 1958730 h 1958730"/>
                    <a:gd name="connsiteX5" fmla="*/ 672 w 2906832"/>
                    <a:gd name="connsiteY5" fmla="*/ 1676325 h 1958730"/>
                    <a:gd name="connsiteX6" fmla="*/ 589956 w 2906832"/>
                    <a:gd name="connsiteY6" fmla="*/ 1336655 h 1958730"/>
                    <a:gd name="connsiteX7" fmla="*/ 2693070 w 2906832"/>
                    <a:gd name="connsiteY7" fmla="*/ 121870 h 1958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6832" h="1958730">
                      <a:moveTo>
                        <a:pt x="2693070" y="121870"/>
                      </a:moveTo>
                      <a:cubicBezTo>
                        <a:pt x="2764529" y="81247"/>
                        <a:pt x="2834518" y="38666"/>
                        <a:pt x="2906466" y="0"/>
                      </a:cubicBezTo>
                      <a:cubicBezTo>
                        <a:pt x="2906955" y="93483"/>
                        <a:pt x="2906955" y="187455"/>
                        <a:pt x="2906466" y="280937"/>
                      </a:cubicBezTo>
                      <a:cubicBezTo>
                        <a:pt x="2605951" y="453219"/>
                        <a:pt x="2306414" y="626970"/>
                        <a:pt x="2006389" y="800231"/>
                      </a:cubicBezTo>
                      <a:cubicBezTo>
                        <a:pt x="1337817" y="1186397"/>
                        <a:pt x="668266" y="1572075"/>
                        <a:pt x="183" y="1958730"/>
                      </a:cubicBezTo>
                      <a:cubicBezTo>
                        <a:pt x="672" y="1864269"/>
                        <a:pt x="-796" y="1770297"/>
                        <a:pt x="672" y="1676325"/>
                      </a:cubicBezTo>
                      <a:cubicBezTo>
                        <a:pt x="197916" y="1564243"/>
                        <a:pt x="393691" y="1449715"/>
                        <a:pt x="589956" y="1336655"/>
                      </a:cubicBezTo>
                      <a:cubicBezTo>
                        <a:pt x="1290831" y="931400"/>
                        <a:pt x="1991706" y="526635"/>
                        <a:pt x="2693070" y="121870"/>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39" name="Graphic 2">
                  <a:extLst>
                    <a:ext uri="{FF2B5EF4-FFF2-40B4-BE49-F238E27FC236}">
                      <a16:creationId xmlns:a16="http://schemas.microsoft.com/office/drawing/2014/main" id="{CBB922E6-D9CF-4AD1-AC06-51B807E2164D}"/>
                    </a:ext>
                  </a:extLst>
                </p:cNvPr>
                <p:cNvSpPr/>
                <p:nvPr/>
              </p:nvSpPr>
              <p:spPr>
                <a:xfrm>
                  <a:off x="8886153" y="3726780"/>
                  <a:ext cx="48585" cy="74719"/>
                </a:xfrm>
                <a:custGeom>
                  <a:avLst/>
                  <a:gdLst>
                    <a:gd name="connsiteX0" fmla="*/ 485522 w 729751"/>
                    <a:gd name="connsiteY0" fmla="*/ 0 h 1122281"/>
                    <a:gd name="connsiteX1" fmla="*/ 528593 w 729751"/>
                    <a:gd name="connsiteY1" fmla="*/ 23493 h 1122281"/>
                    <a:gd name="connsiteX2" fmla="*/ 729752 w 729751"/>
                    <a:gd name="connsiteY2" fmla="*/ 140958 h 1122281"/>
                    <a:gd name="connsiteX3" fmla="*/ 681298 w 729751"/>
                    <a:gd name="connsiteY3" fmla="*/ 221715 h 1122281"/>
                    <a:gd name="connsiteX4" fmla="*/ 246187 w 729751"/>
                    <a:gd name="connsiteY4" fmla="*/ 975450 h 1122281"/>
                    <a:gd name="connsiteX5" fmla="*/ 244229 w 729751"/>
                    <a:gd name="connsiteY5" fmla="*/ 983770 h 1122281"/>
                    <a:gd name="connsiteX6" fmla="*/ 128233 w 729751"/>
                    <a:gd name="connsiteY6" fmla="*/ 915738 h 1122281"/>
                    <a:gd name="connsiteX7" fmla="*/ 4405 w 729751"/>
                    <a:gd name="connsiteY7" fmla="*/ 845259 h 1122281"/>
                    <a:gd name="connsiteX8" fmla="*/ 3916 w 729751"/>
                    <a:gd name="connsiteY8" fmla="*/ 1122281 h 1122281"/>
                    <a:gd name="connsiteX9" fmla="*/ 0 w 729751"/>
                    <a:gd name="connsiteY9" fmla="*/ 1121792 h 1122281"/>
                    <a:gd name="connsiteX10" fmla="*/ 489 w 729751"/>
                    <a:gd name="connsiteY10" fmla="*/ 919654 h 1122281"/>
                    <a:gd name="connsiteX11" fmla="*/ 2937 w 729751"/>
                    <a:gd name="connsiteY11" fmla="*/ 837918 h 1122281"/>
                    <a:gd name="connsiteX12" fmla="*/ 235909 w 729751"/>
                    <a:gd name="connsiteY12" fmla="*/ 434131 h 1122281"/>
                    <a:gd name="connsiteX13" fmla="*/ 485522 w 729751"/>
                    <a:gd name="connsiteY13" fmla="*/ 0 h 112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9751" h="1122281">
                      <a:moveTo>
                        <a:pt x="485522" y="0"/>
                      </a:moveTo>
                      <a:cubicBezTo>
                        <a:pt x="500206" y="7342"/>
                        <a:pt x="514399" y="15173"/>
                        <a:pt x="528593" y="23493"/>
                      </a:cubicBezTo>
                      <a:cubicBezTo>
                        <a:pt x="595157" y="63137"/>
                        <a:pt x="663678" y="100335"/>
                        <a:pt x="729752" y="140958"/>
                      </a:cubicBezTo>
                      <a:cubicBezTo>
                        <a:pt x="711643" y="166409"/>
                        <a:pt x="697449" y="194796"/>
                        <a:pt x="681298" y="221715"/>
                      </a:cubicBezTo>
                      <a:cubicBezTo>
                        <a:pt x="536424" y="472797"/>
                        <a:pt x="391061" y="724368"/>
                        <a:pt x="246187" y="975450"/>
                      </a:cubicBezTo>
                      <a:cubicBezTo>
                        <a:pt x="245698" y="977407"/>
                        <a:pt x="244719" y="981812"/>
                        <a:pt x="244229" y="983770"/>
                      </a:cubicBezTo>
                      <a:cubicBezTo>
                        <a:pt x="206543" y="959298"/>
                        <a:pt x="166898" y="938742"/>
                        <a:pt x="128233" y="915738"/>
                      </a:cubicBezTo>
                      <a:cubicBezTo>
                        <a:pt x="87120" y="892245"/>
                        <a:pt x="46497" y="867284"/>
                        <a:pt x="4405" y="845259"/>
                      </a:cubicBezTo>
                      <a:cubicBezTo>
                        <a:pt x="2937" y="937763"/>
                        <a:pt x="3916" y="1029777"/>
                        <a:pt x="3916" y="1122281"/>
                      </a:cubicBezTo>
                      <a:lnTo>
                        <a:pt x="0" y="1121792"/>
                      </a:lnTo>
                      <a:cubicBezTo>
                        <a:pt x="1468" y="1054249"/>
                        <a:pt x="489" y="986707"/>
                        <a:pt x="489" y="919654"/>
                      </a:cubicBezTo>
                      <a:cubicBezTo>
                        <a:pt x="979" y="892245"/>
                        <a:pt x="-1468" y="864837"/>
                        <a:pt x="2937" y="837918"/>
                      </a:cubicBezTo>
                      <a:cubicBezTo>
                        <a:pt x="80268" y="703322"/>
                        <a:pt x="158089" y="568727"/>
                        <a:pt x="235909" y="434131"/>
                      </a:cubicBezTo>
                      <a:cubicBezTo>
                        <a:pt x="318624" y="288768"/>
                        <a:pt x="403786" y="145363"/>
                        <a:pt x="485522"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0" name="Graphic 2">
                  <a:extLst>
                    <a:ext uri="{FF2B5EF4-FFF2-40B4-BE49-F238E27FC236}">
                      <a16:creationId xmlns:a16="http://schemas.microsoft.com/office/drawing/2014/main" id="{71855A1A-2B2B-4E9A-851A-2A9CF8A5CFA9}"/>
                    </a:ext>
                  </a:extLst>
                </p:cNvPr>
                <p:cNvSpPr/>
                <p:nvPr/>
              </p:nvSpPr>
              <p:spPr>
                <a:xfrm>
                  <a:off x="8902544" y="3736165"/>
                  <a:ext cx="48227" cy="65009"/>
                </a:xfrm>
                <a:custGeom>
                  <a:avLst/>
                  <a:gdLst>
                    <a:gd name="connsiteX0" fmla="*/ 435110 w 724368"/>
                    <a:gd name="connsiteY0" fmla="*/ 80757 h 976428"/>
                    <a:gd name="connsiteX1" fmla="*/ 483565 w 724368"/>
                    <a:gd name="connsiteY1" fmla="*/ 0 h 976428"/>
                    <a:gd name="connsiteX2" fmla="*/ 724368 w 724368"/>
                    <a:gd name="connsiteY2" fmla="*/ 139000 h 976428"/>
                    <a:gd name="connsiteX3" fmla="*/ 241293 w 724368"/>
                    <a:gd name="connsiteY3" fmla="*/ 976429 h 976428"/>
                    <a:gd name="connsiteX4" fmla="*/ 85162 w 724368"/>
                    <a:gd name="connsiteY4" fmla="*/ 887840 h 976428"/>
                    <a:gd name="connsiteX5" fmla="*/ 0 w 724368"/>
                    <a:gd name="connsiteY5" fmla="*/ 834002 h 976428"/>
                    <a:gd name="connsiteX6" fmla="*/ 435110 w 724368"/>
                    <a:gd name="connsiteY6" fmla="*/ 80757 h 97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4368" h="976428">
                      <a:moveTo>
                        <a:pt x="435110" y="80757"/>
                      </a:moveTo>
                      <a:cubicBezTo>
                        <a:pt x="451262" y="53838"/>
                        <a:pt x="465455" y="25451"/>
                        <a:pt x="483565" y="0"/>
                      </a:cubicBezTo>
                      <a:cubicBezTo>
                        <a:pt x="563343" y="46986"/>
                        <a:pt x="643611" y="93483"/>
                        <a:pt x="724368" y="139000"/>
                      </a:cubicBezTo>
                      <a:cubicBezTo>
                        <a:pt x="563343" y="418469"/>
                        <a:pt x="401828" y="696959"/>
                        <a:pt x="241293" y="976429"/>
                      </a:cubicBezTo>
                      <a:cubicBezTo>
                        <a:pt x="188434" y="948531"/>
                        <a:pt x="137532" y="917206"/>
                        <a:pt x="85162" y="887840"/>
                      </a:cubicBezTo>
                      <a:cubicBezTo>
                        <a:pt x="56775" y="870220"/>
                        <a:pt x="24961" y="857006"/>
                        <a:pt x="0" y="834002"/>
                      </a:cubicBezTo>
                      <a:cubicBezTo>
                        <a:pt x="144874" y="583410"/>
                        <a:pt x="289747" y="331839"/>
                        <a:pt x="435110" y="80757"/>
                      </a:cubicBezTo>
                      <a:close/>
                    </a:path>
                  </a:pathLst>
                </a:custGeom>
                <a:solidFill>
                  <a:srgbClr val="FFFFFF"/>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1" name="Graphic 2">
                  <a:extLst>
                    <a:ext uri="{FF2B5EF4-FFF2-40B4-BE49-F238E27FC236}">
                      <a16:creationId xmlns:a16="http://schemas.microsoft.com/office/drawing/2014/main" id="{6B6E365B-5303-4EE5-B192-E649AAA7DEEC}"/>
                    </a:ext>
                  </a:extLst>
                </p:cNvPr>
                <p:cNvSpPr/>
                <p:nvPr/>
              </p:nvSpPr>
              <p:spPr>
                <a:xfrm>
                  <a:off x="9063354" y="3736197"/>
                  <a:ext cx="193787" cy="260654"/>
                </a:xfrm>
                <a:custGeom>
                  <a:avLst/>
                  <a:gdLst>
                    <a:gd name="connsiteX0" fmla="*/ 2009632 w 2910687"/>
                    <a:gd name="connsiteY0" fmla="*/ 519293 h 3915013"/>
                    <a:gd name="connsiteX1" fmla="*/ 2909708 w 2910687"/>
                    <a:gd name="connsiteY1" fmla="*/ 0 h 3915013"/>
                    <a:gd name="connsiteX2" fmla="*/ 2909708 w 2910687"/>
                    <a:gd name="connsiteY2" fmla="*/ 1466845 h 3915013"/>
                    <a:gd name="connsiteX3" fmla="*/ 2910687 w 2910687"/>
                    <a:gd name="connsiteY3" fmla="*/ 1679751 h 3915013"/>
                    <a:gd name="connsiteX4" fmla="*/ 2909219 w 2910687"/>
                    <a:gd name="connsiteY4" fmla="*/ 2237710 h 3915013"/>
                    <a:gd name="connsiteX5" fmla="*/ 2708060 w 2910687"/>
                    <a:gd name="connsiteY5" fmla="*/ 2352728 h 3915013"/>
                    <a:gd name="connsiteX6" fmla="*/ 713111 w 2910687"/>
                    <a:gd name="connsiteY6" fmla="*/ 3504375 h 3915013"/>
                    <a:gd name="connsiteX7" fmla="*/ 3426 w 2910687"/>
                    <a:gd name="connsiteY7" fmla="*/ 3915014 h 3915013"/>
                    <a:gd name="connsiteX8" fmla="*/ 0 w 2910687"/>
                    <a:gd name="connsiteY8" fmla="*/ 3912566 h 3915013"/>
                    <a:gd name="connsiteX9" fmla="*/ 3426 w 2910687"/>
                    <a:gd name="connsiteY9" fmla="*/ 3781886 h 3915013"/>
                    <a:gd name="connsiteX10" fmla="*/ 2937 w 2910687"/>
                    <a:gd name="connsiteY10" fmla="*/ 2237220 h 3915013"/>
                    <a:gd name="connsiteX11" fmla="*/ 1958 w 2910687"/>
                    <a:gd name="connsiteY11" fmla="*/ 1959220 h 3915013"/>
                    <a:gd name="connsiteX12" fmla="*/ 3426 w 2910687"/>
                    <a:gd name="connsiteY12" fmla="*/ 1677304 h 3915013"/>
                    <a:gd name="connsiteX13" fmla="*/ 2009632 w 2910687"/>
                    <a:gd name="connsiteY13" fmla="*/ 519293 h 3915013"/>
                    <a:gd name="connsiteX14" fmla="*/ 2424675 w 2910687"/>
                    <a:gd name="connsiteY14" fmla="*/ 557470 h 3915013"/>
                    <a:gd name="connsiteX15" fmla="*/ 2424675 w 2910687"/>
                    <a:gd name="connsiteY15" fmla="*/ 561385 h 3915013"/>
                    <a:gd name="connsiteX16" fmla="*/ 2402650 w 2910687"/>
                    <a:gd name="connsiteY16" fmla="*/ 571663 h 3915013"/>
                    <a:gd name="connsiteX17" fmla="*/ 1455099 w 2910687"/>
                    <a:gd name="connsiteY17" fmla="*/ 1118366 h 3915013"/>
                    <a:gd name="connsiteX18" fmla="*/ 1214785 w 2910687"/>
                    <a:gd name="connsiteY18" fmla="*/ 1256387 h 3915013"/>
                    <a:gd name="connsiteX19" fmla="*/ 1166820 w 2910687"/>
                    <a:gd name="connsiteY19" fmla="*/ 1284774 h 3915013"/>
                    <a:gd name="connsiteX20" fmla="*/ 245698 w 2910687"/>
                    <a:gd name="connsiteY20" fmla="*/ 1816793 h 3915013"/>
                    <a:gd name="connsiteX21" fmla="*/ 244719 w 2910687"/>
                    <a:gd name="connsiteY21" fmla="*/ 2063960 h 3915013"/>
                    <a:gd name="connsiteX22" fmla="*/ 244719 w 2910687"/>
                    <a:gd name="connsiteY22" fmla="*/ 2495644 h 3915013"/>
                    <a:gd name="connsiteX23" fmla="*/ 246677 w 2910687"/>
                    <a:gd name="connsiteY23" fmla="*/ 2654711 h 3915013"/>
                    <a:gd name="connsiteX24" fmla="*/ 250592 w 2910687"/>
                    <a:gd name="connsiteY24" fmla="*/ 2652264 h 3915013"/>
                    <a:gd name="connsiteX25" fmla="*/ 245208 w 2910687"/>
                    <a:gd name="connsiteY25" fmla="*/ 2711486 h 3915013"/>
                    <a:gd name="connsiteX26" fmla="*/ 246187 w 2910687"/>
                    <a:gd name="connsiteY26" fmla="*/ 2933201 h 3915013"/>
                    <a:gd name="connsiteX27" fmla="*/ 291705 w 2910687"/>
                    <a:gd name="connsiteY27" fmla="*/ 2908730 h 3915013"/>
                    <a:gd name="connsiteX28" fmla="*/ 1456567 w 2910687"/>
                    <a:gd name="connsiteY28" fmla="*/ 2236242 h 3915013"/>
                    <a:gd name="connsiteX29" fmla="*/ 1456567 w 2910687"/>
                    <a:gd name="connsiteY29" fmla="*/ 2232816 h 3915013"/>
                    <a:gd name="connsiteX30" fmla="*/ 1529983 w 2910687"/>
                    <a:gd name="connsiteY30" fmla="*/ 2193661 h 3915013"/>
                    <a:gd name="connsiteX31" fmla="*/ 2570039 w 2910687"/>
                    <a:gd name="connsiteY31" fmla="*/ 1593610 h 3915013"/>
                    <a:gd name="connsiteX32" fmla="*/ 2664989 w 2910687"/>
                    <a:gd name="connsiteY32" fmla="*/ 1535856 h 3915013"/>
                    <a:gd name="connsiteX33" fmla="*/ 2667926 w 2910687"/>
                    <a:gd name="connsiteY33" fmla="*/ 1537324 h 3915013"/>
                    <a:gd name="connsiteX34" fmla="*/ 2667926 w 2910687"/>
                    <a:gd name="connsiteY34" fmla="*/ 759118 h 3915013"/>
                    <a:gd name="connsiteX35" fmla="*/ 2666947 w 2910687"/>
                    <a:gd name="connsiteY35" fmla="*/ 418959 h 3915013"/>
                    <a:gd name="connsiteX36" fmla="*/ 2424675 w 2910687"/>
                    <a:gd name="connsiteY36" fmla="*/ 557470 h 391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10687" h="3915013">
                      <a:moveTo>
                        <a:pt x="2009632" y="519293"/>
                      </a:moveTo>
                      <a:cubicBezTo>
                        <a:pt x="2309657" y="346522"/>
                        <a:pt x="2609194" y="172282"/>
                        <a:pt x="2909708" y="0"/>
                      </a:cubicBezTo>
                      <a:cubicBezTo>
                        <a:pt x="2909708" y="488949"/>
                        <a:pt x="2909708" y="977897"/>
                        <a:pt x="2909708" y="1466845"/>
                      </a:cubicBezTo>
                      <a:cubicBezTo>
                        <a:pt x="2910198" y="1537814"/>
                        <a:pt x="2908729" y="1608782"/>
                        <a:pt x="2910687" y="1679751"/>
                      </a:cubicBezTo>
                      <a:cubicBezTo>
                        <a:pt x="2907751" y="1865737"/>
                        <a:pt x="2910198" y="2051724"/>
                        <a:pt x="2909219" y="2237710"/>
                      </a:cubicBezTo>
                      <a:cubicBezTo>
                        <a:pt x="2841187" y="2274418"/>
                        <a:pt x="2775113" y="2314552"/>
                        <a:pt x="2708060" y="2352728"/>
                      </a:cubicBezTo>
                      <a:cubicBezTo>
                        <a:pt x="2042914" y="2736936"/>
                        <a:pt x="1377767" y="3120656"/>
                        <a:pt x="713111" y="3504375"/>
                      </a:cubicBezTo>
                      <a:cubicBezTo>
                        <a:pt x="476712" y="3641418"/>
                        <a:pt x="239335" y="3776992"/>
                        <a:pt x="3426" y="3915014"/>
                      </a:cubicBezTo>
                      <a:cubicBezTo>
                        <a:pt x="2447" y="3914524"/>
                        <a:pt x="979" y="3913056"/>
                        <a:pt x="0" y="3912566"/>
                      </a:cubicBezTo>
                      <a:cubicBezTo>
                        <a:pt x="6363" y="3869496"/>
                        <a:pt x="2447" y="3825446"/>
                        <a:pt x="3426" y="3781886"/>
                      </a:cubicBezTo>
                      <a:cubicBezTo>
                        <a:pt x="2937" y="3266998"/>
                        <a:pt x="3915" y="2752109"/>
                        <a:pt x="2937" y="2237220"/>
                      </a:cubicBezTo>
                      <a:cubicBezTo>
                        <a:pt x="2937" y="2144717"/>
                        <a:pt x="4894" y="2052213"/>
                        <a:pt x="1958" y="1959220"/>
                      </a:cubicBezTo>
                      <a:cubicBezTo>
                        <a:pt x="4894" y="1865248"/>
                        <a:pt x="2447" y="1771276"/>
                        <a:pt x="3426" y="1677304"/>
                      </a:cubicBezTo>
                      <a:cubicBezTo>
                        <a:pt x="671998" y="1291137"/>
                        <a:pt x="1341060" y="905460"/>
                        <a:pt x="2009632" y="519293"/>
                      </a:cubicBezTo>
                      <a:moveTo>
                        <a:pt x="2424675" y="557470"/>
                      </a:moveTo>
                      <a:lnTo>
                        <a:pt x="2424675" y="561385"/>
                      </a:lnTo>
                      <a:cubicBezTo>
                        <a:pt x="2417334" y="564811"/>
                        <a:pt x="2409992" y="567748"/>
                        <a:pt x="2402650" y="571663"/>
                      </a:cubicBezTo>
                      <a:cubicBezTo>
                        <a:pt x="2086963" y="753734"/>
                        <a:pt x="1771276" y="936295"/>
                        <a:pt x="1455099" y="1118366"/>
                      </a:cubicBezTo>
                      <a:cubicBezTo>
                        <a:pt x="1374831" y="1163883"/>
                        <a:pt x="1295053" y="1210869"/>
                        <a:pt x="1214785" y="1256387"/>
                      </a:cubicBezTo>
                      <a:cubicBezTo>
                        <a:pt x="1199123" y="1266176"/>
                        <a:pt x="1182971" y="1275475"/>
                        <a:pt x="1166820" y="1284774"/>
                      </a:cubicBezTo>
                      <a:cubicBezTo>
                        <a:pt x="859942" y="1461951"/>
                        <a:pt x="552575" y="1639128"/>
                        <a:pt x="245698" y="1816793"/>
                      </a:cubicBezTo>
                      <a:cubicBezTo>
                        <a:pt x="243251" y="1899019"/>
                        <a:pt x="245208" y="1981734"/>
                        <a:pt x="244719" y="2063960"/>
                      </a:cubicBezTo>
                      <a:cubicBezTo>
                        <a:pt x="244719" y="2207854"/>
                        <a:pt x="244719" y="2351749"/>
                        <a:pt x="244719" y="2495644"/>
                      </a:cubicBezTo>
                      <a:cubicBezTo>
                        <a:pt x="245698" y="2548503"/>
                        <a:pt x="242761" y="2601852"/>
                        <a:pt x="246677" y="2654711"/>
                      </a:cubicBezTo>
                      <a:lnTo>
                        <a:pt x="250592" y="2652264"/>
                      </a:lnTo>
                      <a:cubicBezTo>
                        <a:pt x="239825" y="2669394"/>
                        <a:pt x="246677" y="2691908"/>
                        <a:pt x="245208" y="2711486"/>
                      </a:cubicBezTo>
                      <a:cubicBezTo>
                        <a:pt x="246187" y="2785391"/>
                        <a:pt x="243740" y="2859296"/>
                        <a:pt x="246187" y="2933201"/>
                      </a:cubicBezTo>
                      <a:cubicBezTo>
                        <a:pt x="261849" y="2925860"/>
                        <a:pt x="277022" y="2917539"/>
                        <a:pt x="291705" y="2908730"/>
                      </a:cubicBezTo>
                      <a:cubicBezTo>
                        <a:pt x="679829" y="2684567"/>
                        <a:pt x="1068443" y="2460404"/>
                        <a:pt x="1456567" y="2236242"/>
                      </a:cubicBezTo>
                      <a:lnTo>
                        <a:pt x="1456567" y="2232816"/>
                      </a:lnTo>
                      <a:cubicBezTo>
                        <a:pt x="1482997" y="2224006"/>
                        <a:pt x="1505511" y="2206876"/>
                        <a:pt x="1529983" y="2193661"/>
                      </a:cubicBezTo>
                      <a:cubicBezTo>
                        <a:pt x="1876505" y="1993970"/>
                        <a:pt x="2223027" y="1793300"/>
                        <a:pt x="2570039" y="1593610"/>
                      </a:cubicBezTo>
                      <a:cubicBezTo>
                        <a:pt x="2601362" y="1574032"/>
                        <a:pt x="2636113" y="1558860"/>
                        <a:pt x="2664989" y="1535856"/>
                      </a:cubicBezTo>
                      <a:lnTo>
                        <a:pt x="2667926" y="1537324"/>
                      </a:lnTo>
                      <a:cubicBezTo>
                        <a:pt x="2667926" y="1277922"/>
                        <a:pt x="2667926" y="1018520"/>
                        <a:pt x="2667926" y="759118"/>
                      </a:cubicBezTo>
                      <a:cubicBezTo>
                        <a:pt x="2667436" y="645569"/>
                        <a:pt x="2669394" y="532508"/>
                        <a:pt x="2666947" y="418959"/>
                      </a:cubicBezTo>
                      <a:cubicBezTo>
                        <a:pt x="2585700" y="464477"/>
                        <a:pt x="2506412" y="513420"/>
                        <a:pt x="2424675" y="55747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2" name="Graphic 2">
                  <a:extLst>
                    <a:ext uri="{FF2B5EF4-FFF2-40B4-BE49-F238E27FC236}">
                      <a16:creationId xmlns:a16="http://schemas.microsoft.com/office/drawing/2014/main" id="{B5ADA8E1-4D36-492C-A58F-747FE91924AD}"/>
                    </a:ext>
                  </a:extLst>
                </p:cNvPr>
                <p:cNvSpPr/>
                <p:nvPr/>
              </p:nvSpPr>
              <p:spPr>
                <a:xfrm>
                  <a:off x="8821731" y="3745452"/>
                  <a:ext cx="16130" cy="27861"/>
                </a:xfrm>
                <a:custGeom>
                  <a:avLst/>
                  <a:gdLst>
                    <a:gd name="connsiteX0" fmla="*/ 0 w 242271"/>
                    <a:gd name="connsiteY0" fmla="*/ 279469 h 418469"/>
                    <a:gd name="connsiteX1" fmla="*/ 489 w 242271"/>
                    <a:gd name="connsiteY1" fmla="*/ 0 h 418469"/>
                    <a:gd name="connsiteX2" fmla="*/ 96419 w 242271"/>
                    <a:gd name="connsiteY2" fmla="*/ 58243 h 418469"/>
                    <a:gd name="connsiteX3" fmla="*/ 242272 w 242271"/>
                    <a:gd name="connsiteY3" fmla="*/ 142426 h 418469"/>
                    <a:gd name="connsiteX4" fmla="*/ 242272 w 242271"/>
                    <a:gd name="connsiteY4" fmla="*/ 418469 h 418469"/>
                    <a:gd name="connsiteX5" fmla="*/ 141937 w 242271"/>
                    <a:gd name="connsiteY5" fmla="*/ 361694 h 418469"/>
                    <a:gd name="connsiteX6" fmla="*/ 0 w 242271"/>
                    <a:gd name="connsiteY6" fmla="*/ 279469 h 41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71" h="418469">
                      <a:moveTo>
                        <a:pt x="0" y="279469"/>
                      </a:moveTo>
                      <a:cubicBezTo>
                        <a:pt x="489" y="186476"/>
                        <a:pt x="-489" y="93483"/>
                        <a:pt x="489" y="0"/>
                      </a:cubicBezTo>
                      <a:cubicBezTo>
                        <a:pt x="30835" y="22514"/>
                        <a:pt x="64116" y="39155"/>
                        <a:pt x="96419" y="58243"/>
                      </a:cubicBezTo>
                      <a:cubicBezTo>
                        <a:pt x="144874" y="86141"/>
                        <a:pt x="193817" y="114528"/>
                        <a:pt x="242272" y="142426"/>
                      </a:cubicBezTo>
                      <a:cubicBezTo>
                        <a:pt x="242272" y="234441"/>
                        <a:pt x="242272" y="326455"/>
                        <a:pt x="242272" y="418469"/>
                      </a:cubicBezTo>
                      <a:cubicBezTo>
                        <a:pt x="208011" y="401339"/>
                        <a:pt x="175708" y="380783"/>
                        <a:pt x="141937" y="361694"/>
                      </a:cubicBezTo>
                      <a:cubicBezTo>
                        <a:pt x="94462" y="334286"/>
                        <a:pt x="46986" y="307856"/>
                        <a:pt x="0" y="279469"/>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3" name="Graphic 2">
                  <a:extLst>
                    <a:ext uri="{FF2B5EF4-FFF2-40B4-BE49-F238E27FC236}">
                      <a16:creationId xmlns:a16="http://schemas.microsoft.com/office/drawing/2014/main" id="{430F8BDB-05D7-4AF5-A590-EB8B36ED206F}"/>
                    </a:ext>
                  </a:extLst>
                </p:cNvPr>
                <p:cNvSpPr/>
                <p:nvPr/>
              </p:nvSpPr>
              <p:spPr>
                <a:xfrm>
                  <a:off x="8918511" y="3745419"/>
                  <a:ext cx="48585" cy="65302"/>
                </a:xfrm>
                <a:custGeom>
                  <a:avLst/>
                  <a:gdLst>
                    <a:gd name="connsiteX0" fmla="*/ 484544 w 729751"/>
                    <a:gd name="connsiteY0" fmla="*/ 0 h 980833"/>
                    <a:gd name="connsiteX1" fmla="*/ 729752 w 729751"/>
                    <a:gd name="connsiteY1" fmla="*/ 140958 h 980833"/>
                    <a:gd name="connsiteX2" fmla="*/ 692065 w 729751"/>
                    <a:gd name="connsiteY2" fmla="*/ 199691 h 980833"/>
                    <a:gd name="connsiteX3" fmla="*/ 243740 w 729751"/>
                    <a:gd name="connsiteY3" fmla="*/ 975450 h 980833"/>
                    <a:gd name="connsiteX4" fmla="*/ 241293 w 729751"/>
                    <a:gd name="connsiteY4" fmla="*/ 980834 h 980833"/>
                    <a:gd name="connsiteX5" fmla="*/ 75863 w 729751"/>
                    <a:gd name="connsiteY5" fmla="*/ 886372 h 980833"/>
                    <a:gd name="connsiteX6" fmla="*/ 0 w 729751"/>
                    <a:gd name="connsiteY6" fmla="*/ 844770 h 980833"/>
                    <a:gd name="connsiteX7" fmla="*/ 979 w 729751"/>
                    <a:gd name="connsiteY7" fmla="*/ 837918 h 980833"/>
                    <a:gd name="connsiteX8" fmla="*/ 484544 w 729751"/>
                    <a:gd name="connsiteY8" fmla="*/ 0 h 9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751" h="980833">
                      <a:moveTo>
                        <a:pt x="484544" y="0"/>
                      </a:moveTo>
                      <a:cubicBezTo>
                        <a:pt x="567258" y="45518"/>
                        <a:pt x="648505" y="92993"/>
                        <a:pt x="729752" y="140958"/>
                      </a:cubicBezTo>
                      <a:cubicBezTo>
                        <a:pt x="714090" y="158088"/>
                        <a:pt x="703812" y="179134"/>
                        <a:pt x="692065" y="199691"/>
                      </a:cubicBezTo>
                      <a:cubicBezTo>
                        <a:pt x="542786" y="458114"/>
                        <a:pt x="393508" y="717026"/>
                        <a:pt x="243740" y="975450"/>
                      </a:cubicBezTo>
                      <a:cubicBezTo>
                        <a:pt x="243251" y="976918"/>
                        <a:pt x="242272" y="979365"/>
                        <a:pt x="241293" y="980834"/>
                      </a:cubicBezTo>
                      <a:cubicBezTo>
                        <a:pt x="185497" y="950488"/>
                        <a:pt x="131169" y="917207"/>
                        <a:pt x="75863" y="886372"/>
                      </a:cubicBezTo>
                      <a:cubicBezTo>
                        <a:pt x="50902" y="872178"/>
                        <a:pt x="26430" y="856516"/>
                        <a:pt x="0" y="844770"/>
                      </a:cubicBezTo>
                      <a:cubicBezTo>
                        <a:pt x="489" y="842812"/>
                        <a:pt x="979" y="839386"/>
                        <a:pt x="979" y="837918"/>
                      </a:cubicBezTo>
                      <a:cubicBezTo>
                        <a:pt x="161515" y="558449"/>
                        <a:pt x="323518" y="279469"/>
                        <a:pt x="484544"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4" name="Graphic 2">
                  <a:extLst>
                    <a:ext uri="{FF2B5EF4-FFF2-40B4-BE49-F238E27FC236}">
                      <a16:creationId xmlns:a16="http://schemas.microsoft.com/office/drawing/2014/main" id="{C1ADD61A-3697-4EB0-A644-B5155228E49D}"/>
                    </a:ext>
                  </a:extLst>
                </p:cNvPr>
                <p:cNvSpPr/>
                <p:nvPr/>
              </p:nvSpPr>
              <p:spPr>
                <a:xfrm>
                  <a:off x="8837848" y="3754445"/>
                  <a:ext cx="16273" cy="28317"/>
                </a:xfrm>
                <a:custGeom>
                  <a:avLst/>
                  <a:gdLst>
                    <a:gd name="connsiteX0" fmla="*/ 192 w 244421"/>
                    <a:gd name="connsiteY0" fmla="*/ 7342 h 425321"/>
                    <a:gd name="connsiteX1" fmla="*/ 3129 w 244421"/>
                    <a:gd name="connsiteY1" fmla="*/ 0 h 425321"/>
                    <a:gd name="connsiteX2" fmla="*/ 81439 w 244421"/>
                    <a:gd name="connsiteY2" fmla="*/ 50412 h 425321"/>
                    <a:gd name="connsiteX3" fmla="*/ 244422 w 244421"/>
                    <a:gd name="connsiteY3" fmla="*/ 142916 h 425321"/>
                    <a:gd name="connsiteX4" fmla="*/ 243443 w 244421"/>
                    <a:gd name="connsiteY4" fmla="*/ 149768 h 425321"/>
                    <a:gd name="connsiteX5" fmla="*/ 242953 w 244421"/>
                    <a:gd name="connsiteY5" fmla="*/ 425322 h 425321"/>
                    <a:gd name="connsiteX6" fmla="*/ 158280 w 244421"/>
                    <a:gd name="connsiteY6" fmla="*/ 377846 h 425321"/>
                    <a:gd name="connsiteX7" fmla="*/ 12917 w 244421"/>
                    <a:gd name="connsiteY7" fmla="*/ 294152 h 425321"/>
                    <a:gd name="connsiteX8" fmla="*/ 1171 w 244421"/>
                    <a:gd name="connsiteY8" fmla="*/ 283385 h 425321"/>
                    <a:gd name="connsiteX9" fmla="*/ 192 w 244421"/>
                    <a:gd name="connsiteY9" fmla="*/ 7342 h 42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4421" h="425321">
                      <a:moveTo>
                        <a:pt x="192" y="7342"/>
                      </a:moveTo>
                      <a:cubicBezTo>
                        <a:pt x="681" y="5384"/>
                        <a:pt x="2150" y="1468"/>
                        <a:pt x="3129" y="0"/>
                      </a:cubicBezTo>
                      <a:cubicBezTo>
                        <a:pt x="25153" y="22514"/>
                        <a:pt x="55009" y="33771"/>
                        <a:pt x="81439" y="50412"/>
                      </a:cubicBezTo>
                      <a:cubicBezTo>
                        <a:pt x="135766" y="81247"/>
                        <a:pt x="188626" y="114039"/>
                        <a:pt x="244422" y="142916"/>
                      </a:cubicBezTo>
                      <a:cubicBezTo>
                        <a:pt x="243932" y="144384"/>
                        <a:pt x="243443" y="147810"/>
                        <a:pt x="243443" y="149768"/>
                      </a:cubicBezTo>
                      <a:cubicBezTo>
                        <a:pt x="241974" y="241782"/>
                        <a:pt x="242953" y="333797"/>
                        <a:pt x="242953" y="425322"/>
                      </a:cubicBezTo>
                      <a:cubicBezTo>
                        <a:pt x="213587" y="411617"/>
                        <a:pt x="186178" y="393997"/>
                        <a:pt x="158280" y="377846"/>
                      </a:cubicBezTo>
                      <a:cubicBezTo>
                        <a:pt x="109826" y="349948"/>
                        <a:pt x="61372" y="321561"/>
                        <a:pt x="12917" y="294152"/>
                      </a:cubicBezTo>
                      <a:cubicBezTo>
                        <a:pt x="9002" y="290726"/>
                        <a:pt x="2150" y="289258"/>
                        <a:pt x="1171" y="283385"/>
                      </a:cubicBezTo>
                      <a:cubicBezTo>
                        <a:pt x="192" y="191370"/>
                        <a:pt x="-297" y="99356"/>
                        <a:pt x="192" y="7342"/>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5" name="Graphic 2">
                  <a:extLst>
                    <a:ext uri="{FF2B5EF4-FFF2-40B4-BE49-F238E27FC236}">
                      <a16:creationId xmlns:a16="http://schemas.microsoft.com/office/drawing/2014/main" id="{58B3823C-9C25-4ADE-AE99-A40317DDA512}"/>
                    </a:ext>
                  </a:extLst>
                </p:cNvPr>
                <p:cNvSpPr/>
                <p:nvPr/>
              </p:nvSpPr>
              <p:spPr>
                <a:xfrm>
                  <a:off x="8934738" y="3754804"/>
                  <a:ext cx="48162" cy="65041"/>
                </a:xfrm>
                <a:custGeom>
                  <a:avLst/>
                  <a:gdLst>
                    <a:gd name="connsiteX0" fmla="*/ 448325 w 723389"/>
                    <a:gd name="connsiteY0" fmla="*/ 58733 h 976918"/>
                    <a:gd name="connsiteX1" fmla="*/ 486012 w 723389"/>
                    <a:gd name="connsiteY1" fmla="*/ 0 h 976918"/>
                    <a:gd name="connsiteX2" fmla="*/ 723389 w 723389"/>
                    <a:gd name="connsiteY2" fmla="*/ 137043 h 976918"/>
                    <a:gd name="connsiteX3" fmla="*/ 681787 w 723389"/>
                    <a:gd name="connsiteY3" fmla="*/ 213395 h 976918"/>
                    <a:gd name="connsiteX4" fmla="*/ 241293 w 723389"/>
                    <a:gd name="connsiteY4" fmla="*/ 976918 h 976918"/>
                    <a:gd name="connsiteX5" fmla="*/ 79289 w 723389"/>
                    <a:gd name="connsiteY5" fmla="*/ 883435 h 976918"/>
                    <a:gd name="connsiteX6" fmla="*/ 0 w 723389"/>
                    <a:gd name="connsiteY6" fmla="*/ 834002 h 976918"/>
                    <a:gd name="connsiteX7" fmla="*/ 448325 w 723389"/>
                    <a:gd name="connsiteY7" fmla="*/ 58733 h 97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389" h="976918">
                      <a:moveTo>
                        <a:pt x="448325" y="58733"/>
                      </a:moveTo>
                      <a:cubicBezTo>
                        <a:pt x="460072" y="38666"/>
                        <a:pt x="469860" y="17620"/>
                        <a:pt x="486012" y="0"/>
                      </a:cubicBezTo>
                      <a:cubicBezTo>
                        <a:pt x="564322" y="46986"/>
                        <a:pt x="643611" y="92504"/>
                        <a:pt x="723389" y="137043"/>
                      </a:cubicBezTo>
                      <a:cubicBezTo>
                        <a:pt x="712132" y="163962"/>
                        <a:pt x="695981" y="187944"/>
                        <a:pt x="681787" y="213395"/>
                      </a:cubicBezTo>
                      <a:cubicBezTo>
                        <a:pt x="535445" y="467903"/>
                        <a:pt x="387635" y="721921"/>
                        <a:pt x="241293" y="976918"/>
                      </a:cubicBezTo>
                      <a:cubicBezTo>
                        <a:pt x="187455" y="946084"/>
                        <a:pt x="133127" y="914759"/>
                        <a:pt x="79289" y="883435"/>
                      </a:cubicBezTo>
                      <a:cubicBezTo>
                        <a:pt x="52370" y="867284"/>
                        <a:pt x="23982" y="854559"/>
                        <a:pt x="0" y="834002"/>
                      </a:cubicBezTo>
                      <a:cubicBezTo>
                        <a:pt x="149768" y="576068"/>
                        <a:pt x="298557" y="317156"/>
                        <a:pt x="448325" y="58733"/>
                      </a:cubicBezTo>
                      <a:close/>
                    </a:path>
                  </a:pathLst>
                </a:custGeom>
                <a:solidFill>
                  <a:srgbClr val="FFFFFF"/>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6" name="Graphic 2">
                  <a:extLst>
                    <a:ext uri="{FF2B5EF4-FFF2-40B4-BE49-F238E27FC236}">
                      <a16:creationId xmlns:a16="http://schemas.microsoft.com/office/drawing/2014/main" id="{A4233E44-5419-4D8F-BDBB-B50B05EBA291}"/>
                    </a:ext>
                  </a:extLst>
                </p:cNvPr>
                <p:cNvSpPr/>
                <p:nvPr/>
              </p:nvSpPr>
              <p:spPr>
                <a:xfrm>
                  <a:off x="8950738" y="3763960"/>
                  <a:ext cx="48520" cy="84006"/>
                </a:xfrm>
                <a:custGeom>
                  <a:avLst/>
                  <a:gdLst>
                    <a:gd name="connsiteX0" fmla="*/ 482586 w 728773"/>
                    <a:gd name="connsiteY0" fmla="*/ 0 h 1261770"/>
                    <a:gd name="connsiteX1" fmla="*/ 574600 w 728773"/>
                    <a:gd name="connsiteY1" fmla="*/ 51880 h 1261770"/>
                    <a:gd name="connsiteX2" fmla="*/ 728773 w 728773"/>
                    <a:gd name="connsiteY2" fmla="*/ 141937 h 1261770"/>
                    <a:gd name="connsiteX3" fmla="*/ 655847 w 728773"/>
                    <a:gd name="connsiteY3" fmla="*/ 263807 h 1261770"/>
                    <a:gd name="connsiteX4" fmla="*/ 312751 w 728773"/>
                    <a:gd name="connsiteY4" fmla="*/ 857985 h 1261770"/>
                    <a:gd name="connsiteX5" fmla="*/ 243251 w 728773"/>
                    <a:gd name="connsiteY5" fmla="*/ 980833 h 1261770"/>
                    <a:gd name="connsiteX6" fmla="*/ 240804 w 728773"/>
                    <a:gd name="connsiteY6" fmla="*/ 1261281 h 1261770"/>
                    <a:gd name="connsiteX7" fmla="*/ 240804 w 728773"/>
                    <a:gd name="connsiteY7" fmla="*/ 1261771 h 1261770"/>
                    <a:gd name="connsiteX8" fmla="*/ 239335 w 728773"/>
                    <a:gd name="connsiteY8" fmla="*/ 1257855 h 1261770"/>
                    <a:gd name="connsiteX9" fmla="*/ 238846 w 728773"/>
                    <a:gd name="connsiteY9" fmla="*/ 981812 h 1261770"/>
                    <a:gd name="connsiteX10" fmla="*/ 0 w 728773"/>
                    <a:gd name="connsiteY10" fmla="*/ 843301 h 1261770"/>
                    <a:gd name="connsiteX11" fmla="*/ 979 w 728773"/>
                    <a:gd name="connsiteY11" fmla="*/ 839875 h 1261770"/>
                    <a:gd name="connsiteX12" fmla="*/ 441473 w 728773"/>
                    <a:gd name="connsiteY12" fmla="*/ 76352 h 1261770"/>
                    <a:gd name="connsiteX13" fmla="*/ 482586 w 728773"/>
                    <a:gd name="connsiteY13" fmla="*/ 0 h 126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8773" h="1261770">
                      <a:moveTo>
                        <a:pt x="482586" y="0"/>
                      </a:moveTo>
                      <a:cubicBezTo>
                        <a:pt x="513910" y="16151"/>
                        <a:pt x="543766" y="34750"/>
                        <a:pt x="574600" y="51880"/>
                      </a:cubicBezTo>
                      <a:cubicBezTo>
                        <a:pt x="625991" y="82226"/>
                        <a:pt x="678361" y="110613"/>
                        <a:pt x="728773" y="141937"/>
                      </a:cubicBezTo>
                      <a:cubicBezTo>
                        <a:pt x="700875" y="180113"/>
                        <a:pt x="680319" y="223184"/>
                        <a:pt x="655847" y="263807"/>
                      </a:cubicBezTo>
                      <a:cubicBezTo>
                        <a:pt x="541808" y="462029"/>
                        <a:pt x="427280" y="659762"/>
                        <a:pt x="312751" y="857985"/>
                      </a:cubicBezTo>
                      <a:cubicBezTo>
                        <a:pt x="289747" y="899097"/>
                        <a:pt x="264296" y="938742"/>
                        <a:pt x="243251" y="980833"/>
                      </a:cubicBezTo>
                      <a:cubicBezTo>
                        <a:pt x="239825" y="1074316"/>
                        <a:pt x="245209" y="1167799"/>
                        <a:pt x="240804" y="1261281"/>
                      </a:cubicBezTo>
                      <a:lnTo>
                        <a:pt x="240804" y="1261771"/>
                      </a:lnTo>
                      <a:lnTo>
                        <a:pt x="239335" y="1257855"/>
                      </a:lnTo>
                      <a:cubicBezTo>
                        <a:pt x="240314" y="1165841"/>
                        <a:pt x="241293" y="1073827"/>
                        <a:pt x="238846" y="981812"/>
                      </a:cubicBezTo>
                      <a:cubicBezTo>
                        <a:pt x="159557" y="934826"/>
                        <a:pt x="79779" y="889798"/>
                        <a:pt x="0" y="843301"/>
                      </a:cubicBezTo>
                      <a:lnTo>
                        <a:pt x="979" y="839875"/>
                      </a:lnTo>
                      <a:cubicBezTo>
                        <a:pt x="146831" y="584878"/>
                        <a:pt x="294642" y="330860"/>
                        <a:pt x="441473" y="76352"/>
                      </a:cubicBezTo>
                      <a:cubicBezTo>
                        <a:pt x="455667" y="50901"/>
                        <a:pt x="471818" y="26919"/>
                        <a:pt x="482586"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7" name="Graphic 2">
                  <a:extLst>
                    <a:ext uri="{FF2B5EF4-FFF2-40B4-BE49-F238E27FC236}">
                      <a16:creationId xmlns:a16="http://schemas.microsoft.com/office/drawing/2014/main" id="{9998F5D6-93A0-4BEA-82BC-9C75B6271E9D}"/>
                    </a:ext>
                  </a:extLst>
                </p:cNvPr>
                <p:cNvSpPr/>
                <p:nvPr/>
              </p:nvSpPr>
              <p:spPr>
                <a:xfrm>
                  <a:off x="9224769" y="3764091"/>
                  <a:ext cx="16196" cy="74459"/>
                </a:xfrm>
                <a:custGeom>
                  <a:avLst/>
                  <a:gdLst>
                    <a:gd name="connsiteX0" fmla="*/ 217 w 243260"/>
                    <a:gd name="connsiteY0" fmla="*/ 138511 h 1118365"/>
                    <a:gd name="connsiteX1" fmla="*/ 242000 w 243260"/>
                    <a:gd name="connsiteY1" fmla="*/ 0 h 1118365"/>
                    <a:gd name="connsiteX2" fmla="*/ 242979 w 243260"/>
                    <a:gd name="connsiteY2" fmla="*/ 340159 h 1118365"/>
                    <a:gd name="connsiteX3" fmla="*/ 242979 w 243260"/>
                    <a:gd name="connsiteY3" fmla="*/ 1118366 h 1118365"/>
                    <a:gd name="connsiteX4" fmla="*/ 240042 w 243260"/>
                    <a:gd name="connsiteY4" fmla="*/ 1116897 h 1118365"/>
                    <a:gd name="connsiteX5" fmla="*/ 217 w 243260"/>
                    <a:gd name="connsiteY5" fmla="*/ 978876 h 1118365"/>
                    <a:gd name="connsiteX6" fmla="*/ 217 w 243260"/>
                    <a:gd name="connsiteY6" fmla="*/ 142427 h 1118365"/>
                    <a:gd name="connsiteX7" fmla="*/ 217 w 243260"/>
                    <a:gd name="connsiteY7" fmla="*/ 138511 h 111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260" h="1118365">
                      <a:moveTo>
                        <a:pt x="217" y="138511"/>
                      </a:moveTo>
                      <a:cubicBezTo>
                        <a:pt x="81954" y="94462"/>
                        <a:pt x="161243" y="45518"/>
                        <a:pt x="242000" y="0"/>
                      </a:cubicBezTo>
                      <a:cubicBezTo>
                        <a:pt x="244447" y="113060"/>
                        <a:pt x="242489" y="226610"/>
                        <a:pt x="242979" y="340159"/>
                      </a:cubicBezTo>
                      <a:cubicBezTo>
                        <a:pt x="242979" y="599561"/>
                        <a:pt x="242979" y="858963"/>
                        <a:pt x="242979" y="1118366"/>
                      </a:cubicBezTo>
                      <a:lnTo>
                        <a:pt x="240042" y="1116897"/>
                      </a:lnTo>
                      <a:cubicBezTo>
                        <a:pt x="159774" y="1071869"/>
                        <a:pt x="80485" y="1024394"/>
                        <a:pt x="217" y="978876"/>
                      </a:cubicBezTo>
                      <a:cubicBezTo>
                        <a:pt x="-272" y="699896"/>
                        <a:pt x="217" y="421406"/>
                        <a:pt x="217" y="142427"/>
                      </a:cubicBezTo>
                      <a:lnTo>
                        <a:pt x="217" y="138511"/>
                      </a:ln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8" name="Graphic 2">
                  <a:extLst>
                    <a:ext uri="{FF2B5EF4-FFF2-40B4-BE49-F238E27FC236}">
                      <a16:creationId xmlns:a16="http://schemas.microsoft.com/office/drawing/2014/main" id="{33F018ED-A662-44AF-8882-C505FA31BC3A}"/>
                    </a:ext>
                  </a:extLst>
                </p:cNvPr>
                <p:cNvSpPr/>
                <p:nvPr/>
              </p:nvSpPr>
              <p:spPr>
                <a:xfrm>
                  <a:off x="8853969" y="3764417"/>
                  <a:ext cx="16157" cy="27437"/>
                </a:xfrm>
                <a:custGeom>
                  <a:avLst/>
                  <a:gdLst>
                    <a:gd name="connsiteX0" fmla="*/ 809 w 242671"/>
                    <a:gd name="connsiteY0" fmla="*/ 0 h 412106"/>
                    <a:gd name="connsiteX1" fmla="*/ 148130 w 242671"/>
                    <a:gd name="connsiteY1" fmla="*/ 83204 h 412106"/>
                    <a:gd name="connsiteX2" fmla="*/ 240634 w 242671"/>
                    <a:gd name="connsiteY2" fmla="*/ 134106 h 412106"/>
                    <a:gd name="connsiteX3" fmla="*/ 242591 w 242671"/>
                    <a:gd name="connsiteY3" fmla="*/ 345054 h 412106"/>
                    <a:gd name="connsiteX4" fmla="*/ 238676 w 242671"/>
                    <a:gd name="connsiteY4" fmla="*/ 412107 h 412106"/>
                    <a:gd name="connsiteX5" fmla="*/ 320 w 242671"/>
                    <a:gd name="connsiteY5" fmla="*/ 275554 h 412106"/>
                    <a:gd name="connsiteX6" fmla="*/ 809 w 242671"/>
                    <a:gd name="connsiteY6" fmla="*/ 0 h 412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671" h="412106">
                      <a:moveTo>
                        <a:pt x="809" y="0"/>
                      </a:moveTo>
                      <a:cubicBezTo>
                        <a:pt x="51221" y="25451"/>
                        <a:pt x="99186" y="55796"/>
                        <a:pt x="148130" y="83204"/>
                      </a:cubicBezTo>
                      <a:cubicBezTo>
                        <a:pt x="178965" y="100335"/>
                        <a:pt x="208331" y="120402"/>
                        <a:pt x="240634" y="134106"/>
                      </a:cubicBezTo>
                      <a:cubicBezTo>
                        <a:pt x="244549" y="204096"/>
                        <a:pt x="241123" y="274575"/>
                        <a:pt x="242591" y="345054"/>
                      </a:cubicBezTo>
                      <a:cubicBezTo>
                        <a:pt x="242591" y="367568"/>
                        <a:pt x="243570" y="390082"/>
                        <a:pt x="238676" y="412107"/>
                      </a:cubicBezTo>
                      <a:cubicBezTo>
                        <a:pt x="158408" y="368057"/>
                        <a:pt x="80098" y="320092"/>
                        <a:pt x="320" y="275554"/>
                      </a:cubicBezTo>
                      <a:cubicBezTo>
                        <a:pt x="320" y="183539"/>
                        <a:pt x="-659" y="91525"/>
                        <a:pt x="809" y="0"/>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49" name="Graphic 2">
                  <a:extLst>
                    <a:ext uri="{FF2B5EF4-FFF2-40B4-BE49-F238E27FC236}">
                      <a16:creationId xmlns:a16="http://schemas.microsoft.com/office/drawing/2014/main" id="{247D1036-7700-4040-B556-DE386AEB346E}"/>
                    </a:ext>
                  </a:extLst>
                </p:cNvPr>
                <p:cNvSpPr/>
                <p:nvPr/>
              </p:nvSpPr>
              <p:spPr>
                <a:xfrm>
                  <a:off x="8869827" y="3773312"/>
                  <a:ext cx="16521" cy="28122"/>
                </a:xfrm>
                <a:custGeom>
                  <a:avLst/>
                  <a:gdLst>
                    <a:gd name="connsiteX0" fmla="*/ 2447 w 248145"/>
                    <a:gd name="connsiteY0" fmla="*/ 0 h 422384"/>
                    <a:gd name="connsiteX1" fmla="*/ 5384 w 248145"/>
                    <a:gd name="connsiteY1" fmla="*/ 1468 h 422384"/>
                    <a:gd name="connsiteX2" fmla="*/ 142426 w 248145"/>
                    <a:gd name="connsiteY2" fmla="*/ 79778 h 422384"/>
                    <a:gd name="connsiteX3" fmla="*/ 248145 w 248145"/>
                    <a:gd name="connsiteY3" fmla="*/ 138511 h 422384"/>
                    <a:gd name="connsiteX4" fmla="*/ 245698 w 248145"/>
                    <a:gd name="connsiteY4" fmla="*/ 220247 h 422384"/>
                    <a:gd name="connsiteX5" fmla="*/ 245208 w 248145"/>
                    <a:gd name="connsiteY5" fmla="*/ 422385 h 422384"/>
                    <a:gd name="connsiteX6" fmla="*/ 3916 w 248145"/>
                    <a:gd name="connsiteY6" fmla="*/ 283874 h 422384"/>
                    <a:gd name="connsiteX7" fmla="*/ 0 w 248145"/>
                    <a:gd name="connsiteY7" fmla="*/ 281427 h 422384"/>
                    <a:gd name="connsiteX8" fmla="*/ 489 w 248145"/>
                    <a:gd name="connsiteY8" fmla="*/ 278001 h 422384"/>
                    <a:gd name="connsiteX9" fmla="*/ 4405 w 248145"/>
                    <a:gd name="connsiteY9" fmla="*/ 210948 h 422384"/>
                    <a:gd name="connsiteX10" fmla="*/ 2447 w 248145"/>
                    <a:gd name="connsiteY10" fmla="*/ 0 h 42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145" h="422384">
                      <a:moveTo>
                        <a:pt x="2447" y="0"/>
                      </a:moveTo>
                      <a:lnTo>
                        <a:pt x="5384" y="1468"/>
                      </a:lnTo>
                      <a:cubicBezTo>
                        <a:pt x="51880" y="25940"/>
                        <a:pt x="96909" y="53838"/>
                        <a:pt x="142426" y="79778"/>
                      </a:cubicBezTo>
                      <a:cubicBezTo>
                        <a:pt x="177666" y="99356"/>
                        <a:pt x="211437" y="121870"/>
                        <a:pt x="248145" y="138511"/>
                      </a:cubicBezTo>
                      <a:cubicBezTo>
                        <a:pt x="243740" y="165430"/>
                        <a:pt x="246187" y="192838"/>
                        <a:pt x="245698" y="220247"/>
                      </a:cubicBezTo>
                      <a:cubicBezTo>
                        <a:pt x="245208" y="287789"/>
                        <a:pt x="246677" y="355332"/>
                        <a:pt x="245208" y="422385"/>
                      </a:cubicBezTo>
                      <a:cubicBezTo>
                        <a:pt x="164451" y="377356"/>
                        <a:pt x="84673" y="329881"/>
                        <a:pt x="3916" y="283874"/>
                      </a:cubicBezTo>
                      <a:cubicBezTo>
                        <a:pt x="2937" y="283384"/>
                        <a:pt x="979" y="282405"/>
                        <a:pt x="0" y="281427"/>
                      </a:cubicBezTo>
                      <a:lnTo>
                        <a:pt x="489" y="278001"/>
                      </a:lnTo>
                      <a:cubicBezTo>
                        <a:pt x="4894" y="255976"/>
                        <a:pt x="4405" y="232972"/>
                        <a:pt x="4405" y="210948"/>
                      </a:cubicBezTo>
                      <a:cubicBezTo>
                        <a:pt x="2937" y="140958"/>
                        <a:pt x="6363" y="70479"/>
                        <a:pt x="2447" y="0"/>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0" name="Graphic 2">
                  <a:extLst>
                    <a:ext uri="{FF2B5EF4-FFF2-40B4-BE49-F238E27FC236}">
                      <a16:creationId xmlns:a16="http://schemas.microsoft.com/office/drawing/2014/main" id="{715F75F1-9EA7-4759-BDCD-1006A8F8D165}"/>
                    </a:ext>
                  </a:extLst>
                </p:cNvPr>
                <p:cNvSpPr/>
                <p:nvPr/>
              </p:nvSpPr>
              <p:spPr>
                <a:xfrm>
                  <a:off x="8966900" y="3773410"/>
                  <a:ext cx="48194" cy="65139"/>
                </a:xfrm>
                <a:custGeom>
                  <a:avLst/>
                  <a:gdLst>
                    <a:gd name="connsiteX0" fmla="*/ 413085 w 723878"/>
                    <a:gd name="connsiteY0" fmla="*/ 121870 h 978386"/>
                    <a:gd name="connsiteX1" fmla="*/ 486012 w 723878"/>
                    <a:gd name="connsiteY1" fmla="*/ 0 h 978386"/>
                    <a:gd name="connsiteX2" fmla="*/ 723878 w 723878"/>
                    <a:gd name="connsiteY2" fmla="*/ 137043 h 978386"/>
                    <a:gd name="connsiteX3" fmla="*/ 668083 w 723878"/>
                    <a:gd name="connsiteY3" fmla="*/ 238846 h 978386"/>
                    <a:gd name="connsiteX4" fmla="*/ 363652 w 723878"/>
                    <a:gd name="connsiteY4" fmla="*/ 765970 h 978386"/>
                    <a:gd name="connsiteX5" fmla="*/ 242272 w 723878"/>
                    <a:gd name="connsiteY5" fmla="*/ 978386 h 978386"/>
                    <a:gd name="connsiteX6" fmla="*/ 239825 w 723878"/>
                    <a:gd name="connsiteY6" fmla="*/ 976918 h 978386"/>
                    <a:gd name="connsiteX7" fmla="*/ 0 w 723878"/>
                    <a:gd name="connsiteY7" fmla="*/ 838407 h 978386"/>
                    <a:gd name="connsiteX8" fmla="*/ 69500 w 723878"/>
                    <a:gd name="connsiteY8" fmla="*/ 715558 h 978386"/>
                    <a:gd name="connsiteX9" fmla="*/ 413085 w 723878"/>
                    <a:gd name="connsiteY9" fmla="*/ 121870 h 97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878" h="978386">
                      <a:moveTo>
                        <a:pt x="413085" y="121870"/>
                      </a:moveTo>
                      <a:cubicBezTo>
                        <a:pt x="437557" y="81736"/>
                        <a:pt x="458114" y="38665"/>
                        <a:pt x="486012" y="0"/>
                      </a:cubicBezTo>
                      <a:cubicBezTo>
                        <a:pt x="564811" y="46497"/>
                        <a:pt x="644100" y="92504"/>
                        <a:pt x="723878" y="137043"/>
                      </a:cubicBezTo>
                      <a:cubicBezTo>
                        <a:pt x="709195" y="172772"/>
                        <a:pt x="686681" y="204585"/>
                        <a:pt x="668083" y="238846"/>
                      </a:cubicBezTo>
                      <a:cubicBezTo>
                        <a:pt x="566769" y="414554"/>
                        <a:pt x="464966" y="590262"/>
                        <a:pt x="363652" y="765970"/>
                      </a:cubicBezTo>
                      <a:cubicBezTo>
                        <a:pt x="323518" y="836939"/>
                        <a:pt x="280937" y="906928"/>
                        <a:pt x="242272" y="978386"/>
                      </a:cubicBezTo>
                      <a:lnTo>
                        <a:pt x="239825" y="976918"/>
                      </a:lnTo>
                      <a:cubicBezTo>
                        <a:pt x="160536" y="929442"/>
                        <a:pt x="80757" y="883435"/>
                        <a:pt x="0" y="838407"/>
                      </a:cubicBezTo>
                      <a:cubicBezTo>
                        <a:pt x="21046" y="796315"/>
                        <a:pt x="46986" y="756671"/>
                        <a:pt x="69500" y="715558"/>
                      </a:cubicBezTo>
                      <a:cubicBezTo>
                        <a:pt x="184518" y="517825"/>
                        <a:pt x="299046" y="320092"/>
                        <a:pt x="413085" y="121870"/>
                      </a:cubicBezTo>
                      <a:close/>
                    </a:path>
                  </a:pathLst>
                </a:custGeom>
                <a:solidFill>
                  <a:srgbClr val="FFFFFF"/>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1" name="Graphic 2">
                  <a:extLst>
                    <a:ext uri="{FF2B5EF4-FFF2-40B4-BE49-F238E27FC236}">
                      <a16:creationId xmlns:a16="http://schemas.microsoft.com/office/drawing/2014/main" id="{BA5391C4-A687-48C1-91EA-BF773C07FC42}"/>
                    </a:ext>
                  </a:extLst>
                </p:cNvPr>
                <p:cNvSpPr/>
                <p:nvPr/>
              </p:nvSpPr>
              <p:spPr>
                <a:xfrm>
                  <a:off x="9160264" y="3773573"/>
                  <a:ext cx="64552" cy="111541"/>
                </a:xfrm>
                <a:custGeom>
                  <a:avLst/>
                  <a:gdLst>
                    <a:gd name="connsiteX0" fmla="*/ 947552 w 969576"/>
                    <a:gd name="connsiteY0" fmla="*/ 10278 h 1675345"/>
                    <a:gd name="connsiteX1" fmla="*/ 969576 w 969576"/>
                    <a:gd name="connsiteY1" fmla="*/ 0 h 1675345"/>
                    <a:gd name="connsiteX2" fmla="*/ 969576 w 969576"/>
                    <a:gd name="connsiteY2" fmla="*/ 836449 h 1675345"/>
                    <a:gd name="connsiteX3" fmla="*/ 13705 w 969576"/>
                    <a:gd name="connsiteY3" fmla="*/ 1388535 h 1675345"/>
                    <a:gd name="connsiteX4" fmla="*/ 1469 w 969576"/>
                    <a:gd name="connsiteY4" fmla="*/ 1410560 h 1675345"/>
                    <a:gd name="connsiteX5" fmla="*/ 979 w 969576"/>
                    <a:gd name="connsiteY5" fmla="*/ 1671920 h 1675345"/>
                    <a:gd name="connsiteX6" fmla="*/ 979 w 969576"/>
                    <a:gd name="connsiteY6" fmla="*/ 1675346 h 1675345"/>
                    <a:gd name="connsiteX7" fmla="*/ 0 w 969576"/>
                    <a:gd name="connsiteY7" fmla="*/ 557470 h 1675345"/>
                    <a:gd name="connsiteX8" fmla="*/ 947552 w 969576"/>
                    <a:gd name="connsiteY8" fmla="*/ 10278 h 167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9576" h="1675345">
                      <a:moveTo>
                        <a:pt x="947552" y="10278"/>
                      </a:moveTo>
                      <a:cubicBezTo>
                        <a:pt x="954404" y="6363"/>
                        <a:pt x="961745" y="2937"/>
                        <a:pt x="969576" y="0"/>
                      </a:cubicBezTo>
                      <a:cubicBezTo>
                        <a:pt x="969576" y="278980"/>
                        <a:pt x="969087" y="557470"/>
                        <a:pt x="969576" y="836449"/>
                      </a:cubicBezTo>
                      <a:cubicBezTo>
                        <a:pt x="650952" y="1020967"/>
                        <a:pt x="332328" y="1204506"/>
                        <a:pt x="13705" y="1388535"/>
                      </a:cubicBezTo>
                      <a:cubicBezTo>
                        <a:pt x="4894" y="1392451"/>
                        <a:pt x="489" y="1400771"/>
                        <a:pt x="1469" y="1410560"/>
                      </a:cubicBezTo>
                      <a:cubicBezTo>
                        <a:pt x="979" y="1497680"/>
                        <a:pt x="1958" y="1584800"/>
                        <a:pt x="979" y="1671920"/>
                      </a:cubicBezTo>
                      <a:lnTo>
                        <a:pt x="979" y="1675346"/>
                      </a:lnTo>
                      <a:cubicBezTo>
                        <a:pt x="-979" y="1302884"/>
                        <a:pt x="979" y="930421"/>
                        <a:pt x="0" y="557470"/>
                      </a:cubicBezTo>
                      <a:cubicBezTo>
                        <a:pt x="316177" y="375399"/>
                        <a:pt x="631864" y="192838"/>
                        <a:pt x="947552" y="10278"/>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2" name="Graphic 2">
                  <a:extLst>
                    <a:ext uri="{FF2B5EF4-FFF2-40B4-BE49-F238E27FC236}">
                      <a16:creationId xmlns:a16="http://schemas.microsoft.com/office/drawing/2014/main" id="{A4DE43AA-D0F8-4DD4-8C32-1346A206FF93}"/>
                    </a:ext>
                  </a:extLst>
                </p:cNvPr>
                <p:cNvSpPr/>
                <p:nvPr/>
              </p:nvSpPr>
              <p:spPr>
                <a:xfrm>
                  <a:off x="8983030" y="3782567"/>
                  <a:ext cx="48585" cy="65432"/>
                </a:xfrm>
                <a:custGeom>
                  <a:avLst/>
                  <a:gdLst>
                    <a:gd name="connsiteX0" fmla="*/ 481607 w 729751"/>
                    <a:gd name="connsiteY0" fmla="*/ 0 h 982791"/>
                    <a:gd name="connsiteX1" fmla="*/ 535445 w 729751"/>
                    <a:gd name="connsiteY1" fmla="*/ 29856 h 982791"/>
                    <a:gd name="connsiteX2" fmla="*/ 729752 w 729751"/>
                    <a:gd name="connsiteY2" fmla="*/ 142916 h 982791"/>
                    <a:gd name="connsiteX3" fmla="*/ 699407 w 729751"/>
                    <a:gd name="connsiteY3" fmla="*/ 186476 h 982791"/>
                    <a:gd name="connsiteX4" fmla="*/ 244229 w 729751"/>
                    <a:gd name="connsiteY4" fmla="*/ 976429 h 982791"/>
                    <a:gd name="connsiteX5" fmla="*/ 241293 w 729751"/>
                    <a:gd name="connsiteY5" fmla="*/ 982791 h 982791"/>
                    <a:gd name="connsiteX6" fmla="*/ 32792 w 729751"/>
                    <a:gd name="connsiteY6" fmla="*/ 862879 h 982791"/>
                    <a:gd name="connsiteX7" fmla="*/ 0 w 729751"/>
                    <a:gd name="connsiteY7" fmla="*/ 841344 h 982791"/>
                    <a:gd name="connsiteX8" fmla="*/ 121381 w 729751"/>
                    <a:gd name="connsiteY8" fmla="*/ 628928 h 982791"/>
                    <a:gd name="connsiteX9" fmla="*/ 425811 w 729751"/>
                    <a:gd name="connsiteY9" fmla="*/ 101803 h 982791"/>
                    <a:gd name="connsiteX10" fmla="*/ 481607 w 729751"/>
                    <a:gd name="connsiteY10" fmla="*/ 0 h 982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9751" h="982791">
                      <a:moveTo>
                        <a:pt x="481607" y="0"/>
                      </a:moveTo>
                      <a:cubicBezTo>
                        <a:pt x="499716" y="9299"/>
                        <a:pt x="517336" y="19578"/>
                        <a:pt x="535445" y="29856"/>
                      </a:cubicBezTo>
                      <a:cubicBezTo>
                        <a:pt x="600051" y="68032"/>
                        <a:pt x="665636" y="104250"/>
                        <a:pt x="729752" y="142916"/>
                      </a:cubicBezTo>
                      <a:cubicBezTo>
                        <a:pt x="716537" y="155152"/>
                        <a:pt x="708217" y="171303"/>
                        <a:pt x="699407" y="186476"/>
                      </a:cubicBezTo>
                      <a:cubicBezTo>
                        <a:pt x="548170" y="450283"/>
                        <a:pt x="394976" y="712622"/>
                        <a:pt x="244229" y="976429"/>
                      </a:cubicBezTo>
                      <a:cubicBezTo>
                        <a:pt x="243740" y="977897"/>
                        <a:pt x="242272" y="981323"/>
                        <a:pt x="241293" y="982791"/>
                      </a:cubicBezTo>
                      <a:cubicBezTo>
                        <a:pt x="171793" y="943147"/>
                        <a:pt x="102292" y="902524"/>
                        <a:pt x="32792" y="862879"/>
                      </a:cubicBezTo>
                      <a:cubicBezTo>
                        <a:pt x="21535" y="856027"/>
                        <a:pt x="10768" y="848685"/>
                        <a:pt x="0" y="841344"/>
                      </a:cubicBezTo>
                      <a:cubicBezTo>
                        <a:pt x="38665" y="769396"/>
                        <a:pt x="81247" y="699896"/>
                        <a:pt x="121381" y="628928"/>
                      </a:cubicBezTo>
                      <a:cubicBezTo>
                        <a:pt x="222694" y="453220"/>
                        <a:pt x="324497" y="277511"/>
                        <a:pt x="425811" y="101803"/>
                      </a:cubicBezTo>
                      <a:cubicBezTo>
                        <a:pt x="444410" y="67542"/>
                        <a:pt x="466924" y="35729"/>
                        <a:pt x="481607"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3" name="Graphic 2">
                  <a:extLst>
                    <a:ext uri="{FF2B5EF4-FFF2-40B4-BE49-F238E27FC236}">
                      <a16:creationId xmlns:a16="http://schemas.microsoft.com/office/drawing/2014/main" id="{CED10E02-5FA8-4E15-8D10-4D295A8AC97B}"/>
                    </a:ext>
                  </a:extLst>
                </p:cNvPr>
                <p:cNvSpPr/>
                <p:nvPr/>
              </p:nvSpPr>
              <p:spPr>
                <a:xfrm>
                  <a:off x="8886360" y="3783056"/>
                  <a:ext cx="16021" cy="27568"/>
                </a:xfrm>
                <a:custGeom>
                  <a:avLst/>
                  <a:gdLst>
                    <a:gd name="connsiteX0" fmla="*/ 809 w 240633"/>
                    <a:gd name="connsiteY0" fmla="*/ 0 h 414064"/>
                    <a:gd name="connsiteX1" fmla="*/ 124637 w 240633"/>
                    <a:gd name="connsiteY1" fmla="*/ 70479 h 414064"/>
                    <a:gd name="connsiteX2" fmla="*/ 240634 w 240633"/>
                    <a:gd name="connsiteY2" fmla="*/ 138511 h 414064"/>
                    <a:gd name="connsiteX3" fmla="*/ 239655 w 240633"/>
                    <a:gd name="connsiteY3" fmla="*/ 414065 h 414064"/>
                    <a:gd name="connsiteX4" fmla="*/ 320 w 240633"/>
                    <a:gd name="connsiteY4" fmla="*/ 276532 h 414064"/>
                    <a:gd name="connsiteX5" fmla="*/ 809 w 240633"/>
                    <a:gd name="connsiteY5" fmla="*/ 0 h 41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633" h="414064">
                      <a:moveTo>
                        <a:pt x="809" y="0"/>
                      </a:moveTo>
                      <a:cubicBezTo>
                        <a:pt x="42901" y="22025"/>
                        <a:pt x="83524" y="46986"/>
                        <a:pt x="124637" y="70479"/>
                      </a:cubicBezTo>
                      <a:cubicBezTo>
                        <a:pt x="163302" y="93483"/>
                        <a:pt x="202947" y="114039"/>
                        <a:pt x="240634" y="138511"/>
                      </a:cubicBezTo>
                      <a:cubicBezTo>
                        <a:pt x="239165" y="230525"/>
                        <a:pt x="241612" y="322540"/>
                        <a:pt x="239655" y="414065"/>
                      </a:cubicBezTo>
                      <a:cubicBezTo>
                        <a:pt x="159876" y="368547"/>
                        <a:pt x="80587" y="321561"/>
                        <a:pt x="320" y="276532"/>
                      </a:cubicBezTo>
                      <a:cubicBezTo>
                        <a:pt x="320" y="184518"/>
                        <a:pt x="-659" y="92014"/>
                        <a:pt x="809" y="0"/>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4" name="Graphic 2">
                  <a:extLst>
                    <a:ext uri="{FF2B5EF4-FFF2-40B4-BE49-F238E27FC236}">
                      <a16:creationId xmlns:a16="http://schemas.microsoft.com/office/drawing/2014/main" id="{2B784FA4-5D57-44AC-B372-117FAA4A1EAC}"/>
                    </a:ext>
                  </a:extLst>
                </p:cNvPr>
                <p:cNvSpPr/>
                <p:nvPr/>
              </p:nvSpPr>
              <p:spPr>
                <a:xfrm>
                  <a:off x="8902315" y="3791724"/>
                  <a:ext cx="16260" cy="28284"/>
                </a:xfrm>
                <a:custGeom>
                  <a:avLst/>
                  <a:gdLst>
                    <a:gd name="connsiteX0" fmla="*/ 979 w 244229"/>
                    <a:gd name="connsiteY0" fmla="*/ 8320 h 424831"/>
                    <a:gd name="connsiteX1" fmla="*/ 2937 w 244229"/>
                    <a:gd name="connsiteY1" fmla="*/ 0 h 424831"/>
                    <a:gd name="connsiteX2" fmla="*/ 88099 w 244229"/>
                    <a:gd name="connsiteY2" fmla="*/ 53838 h 424831"/>
                    <a:gd name="connsiteX3" fmla="*/ 244229 w 244229"/>
                    <a:gd name="connsiteY3" fmla="*/ 142426 h 424831"/>
                    <a:gd name="connsiteX4" fmla="*/ 243251 w 244229"/>
                    <a:gd name="connsiteY4" fmla="*/ 149279 h 424831"/>
                    <a:gd name="connsiteX5" fmla="*/ 243740 w 244229"/>
                    <a:gd name="connsiteY5" fmla="*/ 424832 h 424831"/>
                    <a:gd name="connsiteX6" fmla="*/ 4405 w 244229"/>
                    <a:gd name="connsiteY6" fmla="*/ 286321 h 424831"/>
                    <a:gd name="connsiteX7" fmla="*/ 0 w 244229"/>
                    <a:gd name="connsiteY7" fmla="*/ 283874 h 424831"/>
                    <a:gd name="connsiteX8" fmla="*/ 979 w 244229"/>
                    <a:gd name="connsiteY8" fmla="*/ 8320 h 424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229" h="424831">
                      <a:moveTo>
                        <a:pt x="979" y="8320"/>
                      </a:moveTo>
                      <a:cubicBezTo>
                        <a:pt x="1468" y="6363"/>
                        <a:pt x="2447" y="1958"/>
                        <a:pt x="2937" y="0"/>
                      </a:cubicBezTo>
                      <a:cubicBezTo>
                        <a:pt x="27898" y="23003"/>
                        <a:pt x="59711" y="35729"/>
                        <a:pt x="88099" y="53838"/>
                      </a:cubicBezTo>
                      <a:cubicBezTo>
                        <a:pt x="140469" y="83204"/>
                        <a:pt x="190881" y="115018"/>
                        <a:pt x="244229" y="142426"/>
                      </a:cubicBezTo>
                      <a:cubicBezTo>
                        <a:pt x="244229" y="144384"/>
                        <a:pt x="243740" y="147810"/>
                        <a:pt x="243251" y="149279"/>
                      </a:cubicBezTo>
                      <a:cubicBezTo>
                        <a:pt x="242272" y="241293"/>
                        <a:pt x="241782" y="333307"/>
                        <a:pt x="243740" y="424832"/>
                      </a:cubicBezTo>
                      <a:cubicBezTo>
                        <a:pt x="163472" y="379314"/>
                        <a:pt x="83204" y="333796"/>
                        <a:pt x="4405" y="286321"/>
                      </a:cubicBezTo>
                      <a:cubicBezTo>
                        <a:pt x="3426" y="285832"/>
                        <a:pt x="1468" y="284363"/>
                        <a:pt x="0" y="283874"/>
                      </a:cubicBezTo>
                      <a:cubicBezTo>
                        <a:pt x="1958" y="191859"/>
                        <a:pt x="-489" y="99845"/>
                        <a:pt x="979" y="8320"/>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5" name="Graphic 2">
                  <a:extLst>
                    <a:ext uri="{FF2B5EF4-FFF2-40B4-BE49-F238E27FC236}">
                      <a16:creationId xmlns:a16="http://schemas.microsoft.com/office/drawing/2014/main" id="{44D7FC13-C24E-4A04-A9B9-ACDB3D40CFF6}"/>
                    </a:ext>
                  </a:extLst>
                </p:cNvPr>
                <p:cNvSpPr/>
                <p:nvPr/>
              </p:nvSpPr>
              <p:spPr>
                <a:xfrm>
                  <a:off x="8999291" y="3792114"/>
                  <a:ext cx="48129" cy="65041"/>
                </a:xfrm>
                <a:custGeom>
                  <a:avLst/>
                  <a:gdLst>
                    <a:gd name="connsiteX0" fmla="*/ 455177 w 722899"/>
                    <a:gd name="connsiteY0" fmla="*/ 43560 h 976918"/>
                    <a:gd name="connsiteX1" fmla="*/ 485522 w 722899"/>
                    <a:gd name="connsiteY1" fmla="*/ 0 h 976918"/>
                    <a:gd name="connsiteX2" fmla="*/ 722900 w 722899"/>
                    <a:gd name="connsiteY2" fmla="*/ 137043 h 976918"/>
                    <a:gd name="connsiteX3" fmla="*/ 606414 w 722899"/>
                    <a:gd name="connsiteY3" fmla="*/ 341628 h 976918"/>
                    <a:gd name="connsiteX4" fmla="*/ 240314 w 722899"/>
                    <a:gd name="connsiteY4" fmla="*/ 976918 h 976918"/>
                    <a:gd name="connsiteX5" fmla="*/ 0 w 722899"/>
                    <a:gd name="connsiteY5" fmla="*/ 837918 h 976918"/>
                    <a:gd name="connsiteX6" fmla="*/ 0 w 722899"/>
                    <a:gd name="connsiteY6" fmla="*/ 833513 h 976918"/>
                    <a:gd name="connsiteX7" fmla="*/ 455177 w 722899"/>
                    <a:gd name="connsiteY7" fmla="*/ 43560 h 97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899" h="976918">
                      <a:moveTo>
                        <a:pt x="455177" y="43560"/>
                      </a:moveTo>
                      <a:cubicBezTo>
                        <a:pt x="463498" y="27898"/>
                        <a:pt x="472308" y="12236"/>
                        <a:pt x="485522" y="0"/>
                      </a:cubicBezTo>
                      <a:cubicBezTo>
                        <a:pt x="563833" y="46986"/>
                        <a:pt x="643122" y="92504"/>
                        <a:pt x="722900" y="137043"/>
                      </a:cubicBezTo>
                      <a:cubicBezTo>
                        <a:pt x="686192" y="206543"/>
                        <a:pt x="645079" y="273107"/>
                        <a:pt x="606414" y="341628"/>
                      </a:cubicBezTo>
                      <a:cubicBezTo>
                        <a:pt x="484544" y="553554"/>
                        <a:pt x="361205" y="764502"/>
                        <a:pt x="240314" y="976918"/>
                      </a:cubicBezTo>
                      <a:cubicBezTo>
                        <a:pt x="160046" y="930422"/>
                        <a:pt x="79779" y="884414"/>
                        <a:pt x="0" y="837918"/>
                      </a:cubicBezTo>
                      <a:lnTo>
                        <a:pt x="0" y="833513"/>
                      </a:lnTo>
                      <a:cubicBezTo>
                        <a:pt x="150747" y="569216"/>
                        <a:pt x="303941" y="306878"/>
                        <a:pt x="455177" y="43560"/>
                      </a:cubicBezTo>
                      <a:close/>
                    </a:path>
                  </a:pathLst>
                </a:custGeom>
                <a:solidFill>
                  <a:srgbClr val="FFFFFF"/>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6" name="Graphic 2">
                  <a:extLst>
                    <a:ext uri="{FF2B5EF4-FFF2-40B4-BE49-F238E27FC236}">
                      <a16:creationId xmlns:a16="http://schemas.microsoft.com/office/drawing/2014/main" id="{2A6C5F9C-2229-439E-844D-CECC435BF94C}"/>
                    </a:ext>
                  </a:extLst>
                </p:cNvPr>
                <p:cNvSpPr/>
                <p:nvPr/>
              </p:nvSpPr>
              <p:spPr>
                <a:xfrm>
                  <a:off x="8869860" y="3797328"/>
                  <a:ext cx="113026" cy="152762"/>
                </a:xfrm>
                <a:custGeom>
                  <a:avLst/>
                  <a:gdLst>
                    <a:gd name="connsiteX0" fmla="*/ 3916 w 1697652"/>
                    <a:gd name="connsiteY0" fmla="*/ 0 h 2294484"/>
                    <a:gd name="connsiteX1" fmla="*/ 7342 w 1697652"/>
                    <a:gd name="connsiteY1" fmla="*/ 202138 h 2294484"/>
                    <a:gd name="connsiteX2" fmla="*/ 149768 w 1697652"/>
                    <a:gd name="connsiteY2" fmla="*/ 284853 h 2294484"/>
                    <a:gd name="connsiteX3" fmla="*/ 244229 w 1697652"/>
                    <a:gd name="connsiteY3" fmla="*/ 337712 h 2294484"/>
                    <a:gd name="connsiteX4" fmla="*/ 244229 w 1697652"/>
                    <a:gd name="connsiteY4" fmla="*/ 342117 h 2294484"/>
                    <a:gd name="connsiteX5" fmla="*/ 244229 w 1697652"/>
                    <a:gd name="connsiteY5" fmla="*/ 870710 h 2294484"/>
                    <a:gd name="connsiteX6" fmla="*/ 245698 w 1697652"/>
                    <a:gd name="connsiteY6" fmla="*/ 896650 h 2294484"/>
                    <a:gd name="connsiteX7" fmla="*/ 248635 w 1697652"/>
                    <a:gd name="connsiteY7" fmla="*/ 898608 h 2294484"/>
                    <a:gd name="connsiteX8" fmla="*/ 1395877 w 1697652"/>
                    <a:gd name="connsiteY8" fmla="*/ 1561796 h 2294484"/>
                    <a:gd name="connsiteX9" fmla="*/ 1452652 w 1697652"/>
                    <a:gd name="connsiteY9" fmla="*/ 1592631 h 2294484"/>
                    <a:gd name="connsiteX10" fmla="*/ 1455099 w 1697652"/>
                    <a:gd name="connsiteY10" fmla="*/ 1318056 h 2294484"/>
                    <a:gd name="connsiteX11" fmla="*/ 1456567 w 1697652"/>
                    <a:gd name="connsiteY11" fmla="*/ 1040055 h 2294484"/>
                    <a:gd name="connsiteX12" fmla="*/ 1668004 w 1697652"/>
                    <a:gd name="connsiteY12" fmla="*/ 1160947 h 2294484"/>
                    <a:gd name="connsiteX13" fmla="*/ 1696392 w 1697652"/>
                    <a:gd name="connsiteY13" fmla="*/ 1174651 h 2294484"/>
                    <a:gd name="connsiteX14" fmla="*/ 1697371 w 1697652"/>
                    <a:gd name="connsiteY14" fmla="*/ 1485934 h 2294484"/>
                    <a:gd name="connsiteX15" fmla="*/ 1696881 w 1697652"/>
                    <a:gd name="connsiteY15" fmla="*/ 2294485 h 2294484"/>
                    <a:gd name="connsiteX16" fmla="*/ 1610251 w 1697652"/>
                    <a:gd name="connsiteY16" fmla="*/ 2246520 h 2294484"/>
                    <a:gd name="connsiteX17" fmla="*/ 640674 w 1697652"/>
                    <a:gd name="connsiteY17" fmla="*/ 1686603 h 2294484"/>
                    <a:gd name="connsiteX18" fmla="*/ 4405 w 1697652"/>
                    <a:gd name="connsiteY18" fmla="*/ 1320014 h 2294484"/>
                    <a:gd name="connsiteX19" fmla="*/ 3916 w 1697652"/>
                    <a:gd name="connsiteY19" fmla="*/ 1599973 h 2294484"/>
                    <a:gd name="connsiteX20" fmla="*/ 2937 w 1697652"/>
                    <a:gd name="connsiteY20" fmla="*/ 1274496 h 2294484"/>
                    <a:gd name="connsiteX21" fmla="*/ 2937 w 1697652"/>
                    <a:gd name="connsiteY21" fmla="*/ 824213 h 2294484"/>
                    <a:gd name="connsiteX22" fmla="*/ 1468 w 1697652"/>
                    <a:gd name="connsiteY22" fmla="*/ 761566 h 2294484"/>
                    <a:gd name="connsiteX23" fmla="*/ 0 w 1697652"/>
                    <a:gd name="connsiteY23" fmla="*/ 130680 h 2294484"/>
                    <a:gd name="connsiteX24" fmla="*/ 3916 w 1697652"/>
                    <a:gd name="connsiteY24" fmla="*/ 0 h 229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97652" h="2294484">
                      <a:moveTo>
                        <a:pt x="3916" y="0"/>
                      </a:moveTo>
                      <a:cubicBezTo>
                        <a:pt x="10278" y="67053"/>
                        <a:pt x="3916" y="135085"/>
                        <a:pt x="7342" y="202138"/>
                      </a:cubicBezTo>
                      <a:cubicBezTo>
                        <a:pt x="54817" y="230036"/>
                        <a:pt x="102292" y="257444"/>
                        <a:pt x="149768" y="284853"/>
                      </a:cubicBezTo>
                      <a:cubicBezTo>
                        <a:pt x="181092" y="302473"/>
                        <a:pt x="211437" y="322540"/>
                        <a:pt x="244229" y="337712"/>
                      </a:cubicBezTo>
                      <a:lnTo>
                        <a:pt x="244229" y="342117"/>
                      </a:lnTo>
                      <a:cubicBezTo>
                        <a:pt x="244719" y="518315"/>
                        <a:pt x="244229" y="694512"/>
                        <a:pt x="244229" y="870710"/>
                      </a:cubicBezTo>
                      <a:cubicBezTo>
                        <a:pt x="244229" y="879031"/>
                        <a:pt x="244719" y="887840"/>
                        <a:pt x="245698" y="896650"/>
                      </a:cubicBezTo>
                      <a:lnTo>
                        <a:pt x="248635" y="898608"/>
                      </a:lnTo>
                      <a:cubicBezTo>
                        <a:pt x="630396" y="1120813"/>
                        <a:pt x="1013626" y="1340570"/>
                        <a:pt x="1395877" y="1561796"/>
                      </a:cubicBezTo>
                      <a:cubicBezTo>
                        <a:pt x="1414476" y="1573053"/>
                        <a:pt x="1433074" y="1583332"/>
                        <a:pt x="1452652" y="1592631"/>
                      </a:cubicBezTo>
                      <a:cubicBezTo>
                        <a:pt x="1455588" y="1501106"/>
                        <a:pt x="1451184" y="1409581"/>
                        <a:pt x="1455099" y="1318056"/>
                      </a:cubicBezTo>
                      <a:cubicBezTo>
                        <a:pt x="1458525" y="1225553"/>
                        <a:pt x="1455588" y="1132559"/>
                        <a:pt x="1456567" y="1040055"/>
                      </a:cubicBezTo>
                      <a:cubicBezTo>
                        <a:pt x="1528515" y="1077742"/>
                        <a:pt x="1597525" y="1120813"/>
                        <a:pt x="1668004" y="1160947"/>
                      </a:cubicBezTo>
                      <a:cubicBezTo>
                        <a:pt x="1677304" y="1165841"/>
                        <a:pt x="1687092" y="1170246"/>
                        <a:pt x="1696392" y="1174651"/>
                      </a:cubicBezTo>
                      <a:cubicBezTo>
                        <a:pt x="1698839" y="1278412"/>
                        <a:pt x="1696881" y="1382173"/>
                        <a:pt x="1697371" y="1485934"/>
                      </a:cubicBezTo>
                      <a:cubicBezTo>
                        <a:pt x="1697371" y="1755614"/>
                        <a:pt x="1697860" y="2024805"/>
                        <a:pt x="1696881" y="2294485"/>
                      </a:cubicBezTo>
                      <a:cubicBezTo>
                        <a:pt x="1667026" y="2280781"/>
                        <a:pt x="1639127" y="2262672"/>
                        <a:pt x="1610251" y="2246520"/>
                      </a:cubicBezTo>
                      <a:cubicBezTo>
                        <a:pt x="1287222" y="2060044"/>
                        <a:pt x="963703" y="1873079"/>
                        <a:pt x="640674" y="1686603"/>
                      </a:cubicBezTo>
                      <a:cubicBezTo>
                        <a:pt x="428748" y="1564733"/>
                        <a:pt x="217310" y="1441395"/>
                        <a:pt x="4405" y="1320014"/>
                      </a:cubicBezTo>
                      <a:cubicBezTo>
                        <a:pt x="2937" y="1413497"/>
                        <a:pt x="3916" y="1506979"/>
                        <a:pt x="3916" y="1599973"/>
                      </a:cubicBezTo>
                      <a:cubicBezTo>
                        <a:pt x="979" y="1491317"/>
                        <a:pt x="3426" y="1382662"/>
                        <a:pt x="2937" y="1274496"/>
                      </a:cubicBezTo>
                      <a:cubicBezTo>
                        <a:pt x="2937" y="1124239"/>
                        <a:pt x="2937" y="974471"/>
                        <a:pt x="2937" y="824213"/>
                      </a:cubicBezTo>
                      <a:cubicBezTo>
                        <a:pt x="2937" y="803168"/>
                        <a:pt x="3426" y="782122"/>
                        <a:pt x="1468" y="761566"/>
                      </a:cubicBezTo>
                      <a:cubicBezTo>
                        <a:pt x="489" y="551107"/>
                        <a:pt x="2447" y="341138"/>
                        <a:pt x="0" y="130680"/>
                      </a:cubicBezTo>
                      <a:cubicBezTo>
                        <a:pt x="1958" y="87120"/>
                        <a:pt x="-2937" y="43560"/>
                        <a:pt x="3916"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7" name="Graphic 2">
                  <a:extLst>
                    <a:ext uri="{FF2B5EF4-FFF2-40B4-BE49-F238E27FC236}">
                      <a16:creationId xmlns:a16="http://schemas.microsoft.com/office/drawing/2014/main" id="{DB59B271-B635-4EBA-8E32-C1932C04D348}"/>
                    </a:ext>
                  </a:extLst>
                </p:cNvPr>
                <p:cNvSpPr/>
                <p:nvPr/>
              </p:nvSpPr>
              <p:spPr>
                <a:xfrm>
                  <a:off x="9015225" y="3801239"/>
                  <a:ext cx="48618" cy="83811"/>
                </a:xfrm>
                <a:custGeom>
                  <a:avLst/>
                  <a:gdLst>
                    <a:gd name="connsiteX0" fmla="*/ 483565 w 730241"/>
                    <a:gd name="connsiteY0" fmla="*/ 0 h 1258834"/>
                    <a:gd name="connsiteX1" fmla="*/ 730241 w 730241"/>
                    <a:gd name="connsiteY1" fmla="*/ 139979 h 1258834"/>
                    <a:gd name="connsiteX2" fmla="*/ 682277 w 730241"/>
                    <a:gd name="connsiteY2" fmla="*/ 216821 h 1258834"/>
                    <a:gd name="connsiteX3" fmla="*/ 546702 w 730241"/>
                    <a:gd name="connsiteY3" fmla="*/ 453220 h 1258834"/>
                    <a:gd name="connsiteX4" fmla="*/ 250592 w 730241"/>
                    <a:gd name="connsiteY4" fmla="*/ 965661 h 1258834"/>
                    <a:gd name="connsiteX5" fmla="*/ 241782 w 730241"/>
                    <a:gd name="connsiteY5" fmla="*/ 1036630 h 1258834"/>
                    <a:gd name="connsiteX6" fmla="*/ 242272 w 730241"/>
                    <a:gd name="connsiteY6" fmla="*/ 1258834 h 1258834"/>
                    <a:gd name="connsiteX7" fmla="*/ 238846 w 730241"/>
                    <a:gd name="connsiteY7" fmla="*/ 1256877 h 1258834"/>
                    <a:gd name="connsiteX8" fmla="*/ 237377 w 730241"/>
                    <a:gd name="connsiteY8" fmla="*/ 978876 h 1258834"/>
                    <a:gd name="connsiteX9" fmla="*/ 0 w 730241"/>
                    <a:gd name="connsiteY9" fmla="*/ 842812 h 1258834"/>
                    <a:gd name="connsiteX10" fmla="*/ 489 w 730241"/>
                    <a:gd name="connsiteY10" fmla="*/ 838897 h 1258834"/>
                    <a:gd name="connsiteX11" fmla="*/ 366589 w 730241"/>
                    <a:gd name="connsiteY11" fmla="*/ 203606 h 1258834"/>
                    <a:gd name="connsiteX12" fmla="*/ 483565 w 730241"/>
                    <a:gd name="connsiteY12" fmla="*/ 0 h 12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0241" h="1258834">
                      <a:moveTo>
                        <a:pt x="483565" y="0"/>
                      </a:moveTo>
                      <a:cubicBezTo>
                        <a:pt x="566769" y="45028"/>
                        <a:pt x="647037" y="95440"/>
                        <a:pt x="730241" y="139979"/>
                      </a:cubicBezTo>
                      <a:cubicBezTo>
                        <a:pt x="710174" y="162493"/>
                        <a:pt x="698428" y="190881"/>
                        <a:pt x="682277" y="216821"/>
                      </a:cubicBezTo>
                      <a:cubicBezTo>
                        <a:pt x="636269" y="295131"/>
                        <a:pt x="592709" y="374910"/>
                        <a:pt x="546702" y="453220"/>
                      </a:cubicBezTo>
                      <a:cubicBezTo>
                        <a:pt x="447836" y="624033"/>
                        <a:pt x="349459" y="795337"/>
                        <a:pt x="250592" y="965661"/>
                      </a:cubicBezTo>
                      <a:cubicBezTo>
                        <a:pt x="238356" y="987196"/>
                        <a:pt x="242272" y="1012647"/>
                        <a:pt x="241782" y="1036630"/>
                      </a:cubicBezTo>
                      <a:cubicBezTo>
                        <a:pt x="242272" y="1110535"/>
                        <a:pt x="241293" y="1184929"/>
                        <a:pt x="242272" y="1258834"/>
                      </a:cubicBezTo>
                      <a:lnTo>
                        <a:pt x="238846" y="1256877"/>
                      </a:lnTo>
                      <a:cubicBezTo>
                        <a:pt x="236398" y="1164373"/>
                        <a:pt x="239825" y="1071380"/>
                        <a:pt x="237377" y="978876"/>
                      </a:cubicBezTo>
                      <a:cubicBezTo>
                        <a:pt x="157599" y="934826"/>
                        <a:pt x="79778" y="887351"/>
                        <a:pt x="0" y="842812"/>
                      </a:cubicBezTo>
                      <a:lnTo>
                        <a:pt x="489" y="838897"/>
                      </a:lnTo>
                      <a:cubicBezTo>
                        <a:pt x="121381" y="626480"/>
                        <a:pt x="244719" y="415533"/>
                        <a:pt x="366589" y="203606"/>
                      </a:cubicBezTo>
                      <a:cubicBezTo>
                        <a:pt x="405744" y="136064"/>
                        <a:pt x="446857" y="69011"/>
                        <a:pt x="483565" y="0"/>
                      </a:cubicBezTo>
                      <a:close/>
                    </a:path>
                  </a:pathLst>
                </a:custGeom>
                <a:solidFill>
                  <a:srgbClr val="D96930"/>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8" name="Graphic 2">
                  <a:extLst>
                    <a:ext uri="{FF2B5EF4-FFF2-40B4-BE49-F238E27FC236}">
                      <a16:creationId xmlns:a16="http://schemas.microsoft.com/office/drawing/2014/main" id="{2CFE0B10-D620-43A1-A2D7-C5ADF65F520B}"/>
                    </a:ext>
                  </a:extLst>
                </p:cNvPr>
                <p:cNvSpPr/>
                <p:nvPr/>
              </p:nvSpPr>
              <p:spPr>
                <a:xfrm>
                  <a:off x="8918449" y="3801662"/>
                  <a:ext cx="16126" cy="27502"/>
                </a:xfrm>
                <a:custGeom>
                  <a:avLst/>
                  <a:gdLst>
                    <a:gd name="connsiteX0" fmla="*/ 927 w 242219"/>
                    <a:gd name="connsiteY0" fmla="*/ 0 h 413085"/>
                    <a:gd name="connsiteX1" fmla="*/ 76790 w 242219"/>
                    <a:gd name="connsiteY1" fmla="*/ 41602 h 413085"/>
                    <a:gd name="connsiteX2" fmla="*/ 242220 w 242219"/>
                    <a:gd name="connsiteY2" fmla="*/ 136064 h 413085"/>
                    <a:gd name="connsiteX3" fmla="*/ 242220 w 242219"/>
                    <a:gd name="connsiteY3" fmla="*/ 373441 h 413085"/>
                    <a:gd name="connsiteX4" fmla="*/ 238304 w 242219"/>
                    <a:gd name="connsiteY4" fmla="*/ 413085 h 413085"/>
                    <a:gd name="connsiteX5" fmla="*/ 927 w 242219"/>
                    <a:gd name="connsiteY5" fmla="*/ 276043 h 413085"/>
                    <a:gd name="connsiteX6" fmla="*/ 927 w 242219"/>
                    <a:gd name="connsiteY6" fmla="*/ 0 h 413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219" h="413085">
                      <a:moveTo>
                        <a:pt x="927" y="0"/>
                      </a:moveTo>
                      <a:cubicBezTo>
                        <a:pt x="27356" y="11257"/>
                        <a:pt x="51828" y="26919"/>
                        <a:pt x="76790" y="41602"/>
                      </a:cubicBezTo>
                      <a:cubicBezTo>
                        <a:pt x="132096" y="72926"/>
                        <a:pt x="186424" y="106208"/>
                        <a:pt x="242220" y="136064"/>
                      </a:cubicBezTo>
                      <a:cubicBezTo>
                        <a:pt x="242220" y="215353"/>
                        <a:pt x="242220" y="294152"/>
                        <a:pt x="242220" y="373441"/>
                      </a:cubicBezTo>
                      <a:cubicBezTo>
                        <a:pt x="242220" y="386656"/>
                        <a:pt x="240751" y="399871"/>
                        <a:pt x="238304" y="413085"/>
                      </a:cubicBezTo>
                      <a:cubicBezTo>
                        <a:pt x="159505" y="367078"/>
                        <a:pt x="80216" y="321071"/>
                        <a:pt x="927" y="276043"/>
                      </a:cubicBezTo>
                      <a:cubicBezTo>
                        <a:pt x="-542" y="184029"/>
                        <a:pt x="-52" y="92014"/>
                        <a:pt x="927" y="0"/>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59" name="Graphic 2">
                  <a:extLst>
                    <a:ext uri="{FF2B5EF4-FFF2-40B4-BE49-F238E27FC236}">
                      <a16:creationId xmlns:a16="http://schemas.microsoft.com/office/drawing/2014/main" id="{AC9B5E04-FA8A-4860-8E88-4185BE61DEF5}"/>
                    </a:ext>
                  </a:extLst>
                </p:cNvPr>
                <p:cNvSpPr/>
                <p:nvPr/>
              </p:nvSpPr>
              <p:spPr>
                <a:xfrm>
                  <a:off x="8869706" y="3792212"/>
                  <a:ext cx="16144" cy="27600"/>
                </a:xfrm>
                <a:custGeom>
                  <a:avLst/>
                  <a:gdLst>
                    <a:gd name="connsiteX0" fmla="*/ 979 w 242489"/>
                    <a:gd name="connsiteY0" fmla="*/ 0 h 414553"/>
                    <a:gd name="connsiteX1" fmla="*/ 242272 w 242489"/>
                    <a:gd name="connsiteY1" fmla="*/ 138511 h 414553"/>
                    <a:gd name="connsiteX2" fmla="*/ 242272 w 242489"/>
                    <a:gd name="connsiteY2" fmla="*/ 414554 h 414553"/>
                    <a:gd name="connsiteX3" fmla="*/ 147810 w 242489"/>
                    <a:gd name="connsiteY3" fmla="*/ 361694 h 414553"/>
                    <a:gd name="connsiteX4" fmla="*/ 5384 w 242489"/>
                    <a:gd name="connsiteY4" fmla="*/ 278980 h 414553"/>
                    <a:gd name="connsiteX5" fmla="*/ 1958 w 242489"/>
                    <a:gd name="connsiteY5" fmla="*/ 76842 h 414553"/>
                    <a:gd name="connsiteX6" fmla="*/ 979 w 242489"/>
                    <a:gd name="connsiteY6" fmla="*/ 0 h 41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489" h="414553">
                      <a:moveTo>
                        <a:pt x="979" y="0"/>
                      </a:moveTo>
                      <a:cubicBezTo>
                        <a:pt x="81247" y="46007"/>
                        <a:pt x="161025" y="93483"/>
                        <a:pt x="242272" y="138511"/>
                      </a:cubicBezTo>
                      <a:cubicBezTo>
                        <a:pt x="242761" y="230525"/>
                        <a:pt x="242272" y="322539"/>
                        <a:pt x="242272" y="414554"/>
                      </a:cubicBezTo>
                      <a:cubicBezTo>
                        <a:pt x="209479" y="399871"/>
                        <a:pt x="179134" y="379314"/>
                        <a:pt x="147810" y="361694"/>
                      </a:cubicBezTo>
                      <a:cubicBezTo>
                        <a:pt x="99845" y="334775"/>
                        <a:pt x="52370" y="307367"/>
                        <a:pt x="5384" y="278980"/>
                      </a:cubicBezTo>
                      <a:cubicBezTo>
                        <a:pt x="1468" y="211437"/>
                        <a:pt x="8320" y="143895"/>
                        <a:pt x="1958" y="76842"/>
                      </a:cubicBezTo>
                      <a:cubicBezTo>
                        <a:pt x="-979" y="51391"/>
                        <a:pt x="0" y="25940"/>
                        <a:pt x="979" y="0"/>
                      </a:cubicBezTo>
                      <a:close/>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0" name="Graphic 2">
                  <a:extLst>
                    <a:ext uri="{FF2B5EF4-FFF2-40B4-BE49-F238E27FC236}">
                      <a16:creationId xmlns:a16="http://schemas.microsoft.com/office/drawing/2014/main" id="{C56CADD4-B459-4AB4-B092-DB73758CCE87}"/>
                    </a:ext>
                  </a:extLst>
                </p:cNvPr>
                <p:cNvSpPr/>
                <p:nvPr/>
              </p:nvSpPr>
              <p:spPr>
                <a:xfrm>
                  <a:off x="8934347" y="3810363"/>
                  <a:ext cx="16488" cy="28187"/>
                </a:xfrm>
                <a:custGeom>
                  <a:avLst/>
                  <a:gdLst>
                    <a:gd name="connsiteX0" fmla="*/ 3916 w 247655"/>
                    <a:gd name="connsiteY0" fmla="*/ 5384 h 423363"/>
                    <a:gd name="connsiteX1" fmla="*/ 6363 w 247655"/>
                    <a:gd name="connsiteY1" fmla="*/ 0 h 423363"/>
                    <a:gd name="connsiteX2" fmla="*/ 85652 w 247655"/>
                    <a:gd name="connsiteY2" fmla="*/ 49433 h 423363"/>
                    <a:gd name="connsiteX3" fmla="*/ 247656 w 247655"/>
                    <a:gd name="connsiteY3" fmla="*/ 142916 h 423363"/>
                    <a:gd name="connsiteX4" fmla="*/ 246677 w 247655"/>
                    <a:gd name="connsiteY4" fmla="*/ 146342 h 423363"/>
                    <a:gd name="connsiteX5" fmla="*/ 245209 w 247655"/>
                    <a:gd name="connsiteY5" fmla="*/ 423364 h 423363"/>
                    <a:gd name="connsiteX6" fmla="*/ 0 w 247655"/>
                    <a:gd name="connsiteY6" fmla="*/ 281916 h 423363"/>
                    <a:gd name="connsiteX7" fmla="*/ 3916 w 247655"/>
                    <a:gd name="connsiteY7" fmla="*/ 242272 h 423363"/>
                    <a:gd name="connsiteX8" fmla="*/ 3916 w 247655"/>
                    <a:gd name="connsiteY8" fmla="*/ 5384 h 42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5" h="423363">
                      <a:moveTo>
                        <a:pt x="3916" y="5384"/>
                      </a:moveTo>
                      <a:cubicBezTo>
                        <a:pt x="4405" y="3916"/>
                        <a:pt x="5384" y="1469"/>
                        <a:pt x="6363" y="0"/>
                      </a:cubicBezTo>
                      <a:cubicBezTo>
                        <a:pt x="30345" y="20067"/>
                        <a:pt x="58733" y="33282"/>
                        <a:pt x="85652" y="49433"/>
                      </a:cubicBezTo>
                      <a:cubicBezTo>
                        <a:pt x="139490" y="80757"/>
                        <a:pt x="193328" y="111592"/>
                        <a:pt x="247656" y="142916"/>
                      </a:cubicBezTo>
                      <a:lnTo>
                        <a:pt x="246677" y="146342"/>
                      </a:lnTo>
                      <a:cubicBezTo>
                        <a:pt x="244719" y="238356"/>
                        <a:pt x="247656" y="330860"/>
                        <a:pt x="245209" y="423364"/>
                      </a:cubicBezTo>
                      <a:cubicBezTo>
                        <a:pt x="162983" y="377357"/>
                        <a:pt x="81247" y="329881"/>
                        <a:pt x="0" y="281916"/>
                      </a:cubicBezTo>
                      <a:cubicBezTo>
                        <a:pt x="2447" y="268702"/>
                        <a:pt x="3916" y="255487"/>
                        <a:pt x="3916" y="242272"/>
                      </a:cubicBezTo>
                      <a:cubicBezTo>
                        <a:pt x="3426" y="163472"/>
                        <a:pt x="3916" y="84673"/>
                        <a:pt x="3916" y="5384"/>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1" name="Graphic 2">
                  <a:extLst>
                    <a:ext uri="{FF2B5EF4-FFF2-40B4-BE49-F238E27FC236}">
                      <a16:creationId xmlns:a16="http://schemas.microsoft.com/office/drawing/2014/main" id="{EF7735E0-28F2-44DE-AC20-70B1476548A7}"/>
                    </a:ext>
                  </a:extLst>
                </p:cNvPr>
                <p:cNvSpPr/>
                <p:nvPr/>
              </p:nvSpPr>
              <p:spPr>
                <a:xfrm>
                  <a:off x="9144203" y="3810688"/>
                  <a:ext cx="16159" cy="74426"/>
                </a:xfrm>
                <a:custGeom>
                  <a:avLst/>
                  <a:gdLst>
                    <a:gd name="connsiteX0" fmla="*/ 1416 w 242708"/>
                    <a:gd name="connsiteY0" fmla="*/ 138022 h 1117876"/>
                    <a:gd name="connsiteX1" fmla="*/ 241730 w 242708"/>
                    <a:gd name="connsiteY1" fmla="*/ 0 h 1117876"/>
                    <a:gd name="connsiteX2" fmla="*/ 242709 w 242708"/>
                    <a:gd name="connsiteY2" fmla="*/ 1117876 h 1117876"/>
                    <a:gd name="connsiteX3" fmla="*/ 926 w 242708"/>
                    <a:gd name="connsiteY3" fmla="*/ 978386 h 1117876"/>
                    <a:gd name="connsiteX4" fmla="*/ 437 w 242708"/>
                    <a:gd name="connsiteY4" fmla="*/ 270170 h 1117876"/>
                    <a:gd name="connsiteX5" fmla="*/ 1416 w 242708"/>
                    <a:gd name="connsiteY5" fmla="*/ 138022 h 111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708" h="1117876">
                      <a:moveTo>
                        <a:pt x="1416" y="138022"/>
                      </a:moveTo>
                      <a:cubicBezTo>
                        <a:pt x="81684" y="92015"/>
                        <a:pt x="161462" y="45518"/>
                        <a:pt x="241730" y="0"/>
                      </a:cubicBezTo>
                      <a:cubicBezTo>
                        <a:pt x="242709" y="372462"/>
                        <a:pt x="240751" y="744925"/>
                        <a:pt x="242709" y="1117876"/>
                      </a:cubicBezTo>
                      <a:cubicBezTo>
                        <a:pt x="161951" y="1071869"/>
                        <a:pt x="81194" y="1025372"/>
                        <a:pt x="926" y="978386"/>
                      </a:cubicBezTo>
                      <a:cubicBezTo>
                        <a:pt x="437" y="742477"/>
                        <a:pt x="926" y="506568"/>
                        <a:pt x="437" y="270170"/>
                      </a:cubicBezTo>
                      <a:cubicBezTo>
                        <a:pt x="437" y="226120"/>
                        <a:pt x="-1032" y="182071"/>
                        <a:pt x="1416" y="138022"/>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2" name="Graphic 2">
                  <a:extLst>
                    <a:ext uri="{FF2B5EF4-FFF2-40B4-BE49-F238E27FC236}">
                      <a16:creationId xmlns:a16="http://schemas.microsoft.com/office/drawing/2014/main" id="{D16B7EDF-1EF8-4204-88A5-9C29C7CE938B}"/>
                    </a:ext>
                  </a:extLst>
                </p:cNvPr>
                <p:cNvSpPr/>
                <p:nvPr/>
              </p:nvSpPr>
              <p:spPr>
                <a:xfrm>
                  <a:off x="9079693" y="3819878"/>
                  <a:ext cx="64604" cy="93130"/>
                </a:xfrm>
                <a:custGeom>
                  <a:avLst/>
                  <a:gdLst>
                    <a:gd name="connsiteX0" fmla="*/ 922383 w 970347"/>
                    <a:gd name="connsiteY0" fmla="*/ 28387 h 1398813"/>
                    <a:gd name="connsiteX1" fmla="*/ 970348 w 970347"/>
                    <a:gd name="connsiteY1" fmla="*/ 0 h 1398813"/>
                    <a:gd name="connsiteX2" fmla="*/ 969369 w 970347"/>
                    <a:gd name="connsiteY2" fmla="*/ 132148 h 1398813"/>
                    <a:gd name="connsiteX3" fmla="*/ 969859 w 970347"/>
                    <a:gd name="connsiteY3" fmla="*/ 840365 h 1398813"/>
                    <a:gd name="connsiteX4" fmla="*/ 6155 w 970347"/>
                    <a:gd name="connsiteY4" fmla="*/ 1396366 h 1398813"/>
                    <a:gd name="connsiteX5" fmla="*/ 2240 w 970347"/>
                    <a:gd name="connsiteY5" fmla="*/ 1398813 h 1398813"/>
                    <a:gd name="connsiteX6" fmla="*/ 282 w 970347"/>
                    <a:gd name="connsiteY6" fmla="*/ 1239746 h 1398813"/>
                    <a:gd name="connsiteX7" fmla="*/ 282 w 970347"/>
                    <a:gd name="connsiteY7" fmla="*/ 808062 h 1398813"/>
                    <a:gd name="connsiteX8" fmla="*/ 1261 w 970347"/>
                    <a:gd name="connsiteY8" fmla="*/ 560896 h 1398813"/>
                    <a:gd name="connsiteX9" fmla="*/ 922383 w 970347"/>
                    <a:gd name="connsiteY9" fmla="*/ 28387 h 139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347" h="1398813">
                      <a:moveTo>
                        <a:pt x="922383" y="28387"/>
                      </a:moveTo>
                      <a:cubicBezTo>
                        <a:pt x="938534" y="19088"/>
                        <a:pt x="954686" y="9789"/>
                        <a:pt x="970348" y="0"/>
                      </a:cubicBezTo>
                      <a:cubicBezTo>
                        <a:pt x="968390" y="44049"/>
                        <a:pt x="969859" y="88099"/>
                        <a:pt x="969369" y="132148"/>
                      </a:cubicBezTo>
                      <a:cubicBezTo>
                        <a:pt x="969369" y="368057"/>
                        <a:pt x="968880" y="603966"/>
                        <a:pt x="969859" y="840365"/>
                      </a:cubicBezTo>
                      <a:cubicBezTo>
                        <a:pt x="648787" y="1025862"/>
                        <a:pt x="327716" y="1211848"/>
                        <a:pt x="6155" y="1396366"/>
                      </a:cubicBezTo>
                      <a:lnTo>
                        <a:pt x="2240" y="1398813"/>
                      </a:lnTo>
                      <a:cubicBezTo>
                        <a:pt x="-1676" y="1345954"/>
                        <a:pt x="1261" y="1292606"/>
                        <a:pt x="282" y="1239746"/>
                      </a:cubicBezTo>
                      <a:cubicBezTo>
                        <a:pt x="282" y="1095852"/>
                        <a:pt x="282" y="951957"/>
                        <a:pt x="282" y="808062"/>
                      </a:cubicBezTo>
                      <a:cubicBezTo>
                        <a:pt x="772" y="725836"/>
                        <a:pt x="-1186" y="643121"/>
                        <a:pt x="1261" y="560896"/>
                      </a:cubicBezTo>
                      <a:cubicBezTo>
                        <a:pt x="308139" y="382740"/>
                        <a:pt x="615016" y="205564"/>
                        <a:pt x="922383" y="28387"/>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3" name="Freeform: Shape 1862">
                  <a:extLst>
                    <a:ext uri="{FF2B5EF4-FFF2-40B4-BE49-F238E27FC236}">
                      <a16:creationId xmlns:a16="http://schemas.microsoft.com/office/drawing/2014/main" id="{50927807-EB35-4FAC-BE0B-03168904FB19}"/>
                    </a:ext>
                  </a:extLst>
                </p:cNvPr>
                <p:cNvSpPr/>
                <p:nvPr/>
              </p:nvSpPr>
              <p:spPr>
                <a:xfrm>
                  <a:off x="8886120" y="3801434"/>
                  <a:ext cx="16488" cy="55689"/>
                </a:xfrm>
                <a:custGeom>
                  <a:avLst/>
                  <a:gdLst>
                    <a:gd name="connsiteX0" fmla="*/ 489 w 247656"/>
                    <a:gd name="connsiteY0" fmla="*/ 280448 h 836449"/>
                    <a:gd name="connsiteX1" fmla="*/ 78799 w 247656"/>
                    <a:gd name="connsiteY1" fmla="*/ 322050 h 836449"/>
                    <a:gd name="connsiteX2" fmla="*/ 244229 w 247656"/>
                    <a:gd name="connsiteY2" fmla="*/ 417491 h 836449"/>
                    <a:gd name="connsiteX3" fmla="*/ 244229 w 247656"/>
                    <a:gd name="connsiteY3" fmla="*/ 421406 h 836449"/>
                    <a:gd name="connsiteX4" fmla="*/ 244229 w 247656"/>
                    <a:gd name="connsiteY4" fmla="*/ 697449 h 836449"/>
                    <a:gd name="connsiteX5" fmla="*/ 4894 w 247656"/>
                    <a:gd name="connsiteY5" fmla="*/ 836449 h 836449"/>
                    <a:gd name="connsiteX6" fmla="*/ 1957 w 247656"/>
                    <a:gd name="connsiteY6" fmla="*/ 834492 h 836449"/>
                    <a:gd name="connsiteX7" fmla="*/ 489 w 247656"/>
                    <a:gd name="connsiteY7" fmla="*/ 808552 h 836449"/>
                    <a:gd name="connsiteX8" fmla="*/ 489 w 247656"/>
                    <a:gd name="connsiteY8" fmla="*/ 280448 h 836449"/>
                    <a:gd name="connsiteX9" fmla="*/ 0 w 247656"/>
                    <a:gd name="connsiteY9" fmla="*/ 0 h 836449"/>
                    <a:gd name="connsiteX10" fmla="*/ 3916 w 247656"/>
                    <a:gd name="connsiteY10" fmla="*/ 489 h 836449"/>
                    <a:gd name="connsiteX11" fmla="*/ 243251 w 247656"/>
                    <a:gd name="connsiteY11" fmla="*/ 138022 h 836449"/>
                    <a:gd name="connsiteX12" fmla="*/ 247656 w 247656"/>
                    <a:gd name="connsiteY12" fmla="*/ 140469 h 836449"/>
                    <a:gd name="connsiteX13" fmla="*/ 243740 w 247656"/>
                    <a:gd name="connsiteY13" fmla="*/ 188434 h 836449"/>
                    <a:gd name="connsiteX14" fmla="*/ 244230 w 247656"/>
                    <a:gd name="connsiteY14" fmla="*/ 417490 h 836449"/>
                    <a:gd name="connsiteX15" fmla="*/ 78800 w 247656"/>
                    <a:gd name="connsiteY15" fmla="*/ 322050 h 836449"/>
                    <a:gd name="connsiteX16" fmla="*/ 489 w 247656"/>
                    <a:gd name="connsiteY16" fmla="*/ 280448 h 836449"/>
                    <a:gd name="connsiteX17" fmla="*/ 489 w 247656"/>
                    <a:gd name="connsiteY17" fmla="*/ 276043 h 836449"/>
                    <a:gd name="connsiteX18" fmla="*/ 0 w 247656"/>
                    <a:gd name="connsiteY18" fmla="*/ 0 h 83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7656" h="836449">
                      <a:moveTo>
                        <a:pt x="489" y="280448"/>
                      </a:moveTo>
                      <a:cubicBezTo>
                        <a:pt x="27898" y="291216"/>
                        <a:pt x="53348" y="306878"/>
                        <a:pt x="78799" y="322050"/>
                      </a:cubicBezTo>
                      <a:cubicBezTo>
                        <a:pt x="134106" y="353374"/>
                        <a:pt x="188923" y="386656"/>
                        <a:pt x="244229" y="417491"/>
                      </a:cubicBezTo>
                      <a:lnTo>
                        <a:pt x="244229" y="421406"/>
                      </a:lnTo>
                      <a:cubicBezTo>
                        <a:pt x="243740" y="513420"/>
                        <a:pt x="243740" y="605435"/>
                        <a:pt x="244229" y="697449"/>
                      </a:cubicBezTo>
                      <a:cubicBezTo>
                        <a:pt x="164451" y="743946"/>
                        <a:pt x="84183" y="789463"/>
                        <a:pt x="4894" y="836449"/>
                      </a:cubicBezTo>
                      <a:lnTo>
                        <a:pt x="1957" y="834492"/>
                      </a:lnTo>
                      <a:cubicBezTo>
                        <a:pt x="978" y="825682"/>
                        <a:pt x="489" y="817361"/>
                        <a:pt x="489" y="808552"/>
                      </a:cubicBezTo>
                      <a:cubicBezTo>
                        <a:pt x="489" y="632843"/>
                        <a:pt x="978" y="456646"/>
                        <a:pt x="489" y="280448"/>
                      </a:cubicBezTo>
                      <a:close/>
                      <a:moveTo>
                        <a:pt x="0" y="0"/>
                      </a:moveTo>
                      <a:lnTo>
                        <a:pt x="3916" y="489"/>
                      </a:lnTo>
                      <a:cubicBezTo>
                        <a:pt x="84183" y="45518"/>
                        <a:pt x="162983" y="92504"/>
                        <a:pt x="243251" y="138022"/>
                      </a:cubicBezTo>
                      <a:cubicBezTo>
                        <a:pt x="244230" y="138511"/>
                        <a:pt x="246187" y="139979"/>
                        <a:pt x="247656" y="140469"/>
                      </a:cubicBezTo>
                      <a:cubicBezTo>
                        <a:pt x="245208" y="156131"/>
                        <a:pt x="243740" y="172282"/>
                        <a:pt x="243740" y="188434"/>
                      </a:cubicBezTo>
                      <a:cubicBezTo>
                        <a:pt x="244719" y="264786"/>
                        <a:pt x="243740" y="341138"/>
                        <a:pt x="244230" y="417490"/>
                      </a:cubicBezTo>
                      <a:cubicBezTo>
                        <a:pt x="188434" y="386166"/>
                        <a:pt x="134106" y="353374"/>
                        <a:pt x="78800" y="322050"/>
                      </a:cubicBezTo>
                      <a:cubicBezTo>
                        <a:pt x="53349" y="306878"/>
                        <a:pt x="28387" y="291216"/>
                        <a:pt x="489" y="280448"/>
                      </a:cubicBezTo>
                      <a:lnTo>
                        <a:pt x="489" y="276043"/>
                      </a:lnTo>
                      <a:cubicBezTo>
                        <a:pt x="489" y="184029"/>
                        <a:pt x="979" y="92014"/>
                        <a:pt x="0" y="0"/>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4" name="Graphic 2">
                  <a:extLst>
                    <a:ext uri="{FF2B5EF4-FFF2-40B4-BE49-F238E27FC236}">
                      <a16:creationId xmlns:a16="http://schemas.microsoft.com/office/drawing/2014/main" id="{9C51789F-5B8C-4E65-9765-D342022C2DE8}"/>
                    </a:ext>
                  </a:extLst>
                </p:cNvPr>
                <p:cNvSpPr/>
                <p:nvPr/>
              </p:nvSpPr>
              <p:spPr>
                <a:xfrm>
                  <a:off x="8950673" y="3820106"/>
                  <a:ext cx="16058" cy="27600"/>
                </a:xfrm>
                <a:custGeom>
                  <a:avLst/>
                  <a:gdLst>
                    <a:gd name="connsiteX0" fmla="*/ 979 w 241198"/>
                    <a:gd name="connsiteY0" fmla="*/ 0 h 414553"/>
                    <a:gd name="connsiteX1" fmla="*/ 239825 w 241198"/>
                    <a:gd name="connsiteY1" fmla="*/ 138511 h 414553"/>
                    <a:gd name="connsiteX2" fmla="*/ 240314 w 241198"/>
                    <a:gd name="connsiteY2" fmla="*/ 414554 h 414553"/>
                    <a:gd name="connsiteX3" fmla="*/ 0 w 241198"/>
                    <a:gd name="connsiteY3" fmla="*/ 277022 h 414553"/>
                    <a:gd name="connsiteX4" fmla="*/ 979 w 241198"/>
                    <a:gd name="connsiteY4" fmla="*/ 0 h 4145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98" h="414553">
                      <a:moveTo>
                        <a:pt x="979" y="0"/>
                      </a:moveTo>
                      <a:cubicBezTo>
                        <a:pt x="80757" y="46007"/>
                        <a:pt x="160536" y="91525"/>
                        <a:pt x="239825" y="138511"/>
                      </a:cubicBezTo>
                      <a:cubicBezTo>
                        <a:pt x="242272" y="230525"/>
                        <a:pt x="240803" y="322540"/>
                        <a:pt x="240314" y="414554"/>
                      </a:cubicBezTo>
                      <a:cubicBezTo>
                        <a:pt x="159067" y="370505"/>
                        <a:pt x="80268" y="322540"/>
                        <a:pt x="0" y="277022"/>
                      </a:cubicBezTo>
                      <a:cubicBezTo>
                        <a:pt x="1958" y="184518"/>
                        <a:pt x="-490" y="92504"/>
                        <a:pt x="979" y="0"/>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5" name="Graphic 2">
                  <a:extLst>
                    <a:ext uri="{FF2B5EF4-FFF2-40B4-BE49-F238E27FC236}">
                      <a16:creationId xmlns:a16="http://schemas.microsoft.com/office/drawing/2014/main" id="{9F2D5A03-9EBE-472B-8282-8448AB8FD443}"/>
                    </a:ext>
                  </a:extLst>
                </p:cNvPr>
                <p:cNvSpPr/>
                <p:nvPr/>
              </p:nvSpPr>
              <p:spPr>
                <a:xfrm>
                  <a:off x="8966835" y="3829262"/>
                  <a:ext cx="32339" cy="121219"/>
                </a:xfrm>
                <a:custGeom>
                  <a:avLst/>
                  <a:gdLst>
                    <a:gd name="connsiteX0" fmla="*/ 1468 w 485739"/>
                    <a:gd name="connsiteY0" fmla="*/ 0 h 1820708"/>
                    <a:gd name="connsiteX1" fmla="*/ 241293 w 485739"/>
                    <a:gd name="connsiteY1" fmla="*/ 138511 h 1820708"/>
                    <a:gd name="connsiteX2" fmla="*/ 244230 w 485739"/>
                    <a:gd name="connsiteY2" fmla="*/ 422385 h 1820708"/>
                    <a:gd name="connsiteX3" fmla="*/ 246677 w 485739"/>
                    <a:gd name="connsiteY3" fmla="*/ 701365 h 1820708"/>
                    <a:gd name="connsiteX4" fmla="*/ 485522 w 485739"/>
                    <a:gd name="connsiteY4" fmla="*/ 836939 h 1820708"/>
                    <a:gd name="connsiteX5" fmla="*/ 485522 w 485739"/>
                    <a:gd name="connsiteY5" fmla="*/ 1679751 h 1820708"/>
                    <a:gd name="connsiteX6" fmla="*/ 345543 w 485739"/>
                    <a:gd name="connsiteY6" fmla="*/ 1759040 h 1820708"/>
                    <a:gd name="connsiteX7" fmla="*/ 242761 w 485739"/>
                    <a:gd name="connsiteY7" fmla="*/ 1820709 h 1820708"/>
                    <a:gd name="connsiteX8" fmla="*/ 241782 w 485739"/>
                    <a:gd name="connsiteY8" fmla="*/ 1815325 h 1820708"/>
                    <a:gd name="connsiteX9" fmla="*/ 242272 w 485739"/>
                    <a:gd name="connsiteY9" fmla="*/ 1006774 h 1820708"/>
                    <a:gd name="connsiteX10" fmla="*/ 241293 w 485739"/>
                    <a:gd name="connsiteY10" fmla="*/ 695491 h 1820708"/>
                    <a:gd name="connsiteX11" fmla="*/ 240314 w 485739"/>
                    <a:gd name="connsiteY11" fmla="*/ 420917 h 1820708"/>
                    <a:gd name="connsiteX12" fmla="*/ 1468 w 485739"/>
                    <a:gd name="connsiteY12" fmla="*/ 284853 h 1820708"/>
                    <a:gd name="connsiteX13" fmla="*/ 0 w 485739"/>
                    <a:gd name="connsiteY13" fmla="*/ 280937 h 1820708"/>
                    <a:gd name="connsiteX14" fmla="*/ 1468 w 485739"/>
                    <a:gd name="connsiteY14" fmla="*/ 0 h 182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5739" h="1820708">
                      <a:moveTo>
                        <a:pt x="1468" y="0"/>
                      </a:moveTo>
                      <a:cubicBezTo>
                        <a:pt x="81736" y="45028"/>
                        <a:pt x="162004" y="91036"/>
                        <a:pt x="241293" y="138511"/>
                      </a:cubicBezTo>
                      <a:cubicBezTo>
                        <a:pt x="245208" y="232973"/>
                        <a:pt x="239335" y="327923"/>
                        <a:pt x="244230" y="422385"/>
                      </a:cubicBezTo>
                      <a:cubicBezTo>
                        <a:pt x="248634" y="515378"/>
                        <a:pt x="244230" y="608372"/>
                        <a:pt x="246677" y="701365"/>
                      </a:cubicBezTo>
                      <a:cubicBezTo>
                        <a:pt x="326455" y="745903"/>
                        <a:pt x="404276" y="794358"/>
                        <a:pt x="485522" y="836939"/>
                      </a:cubicBezTo>
                      <a:cubicBezTo>
                        <a:pt x="485522" y="1117876"/>
                        <a:pt x="486012" y="1398814"/>
                        <a:pt x="485522" y="1679751"/>
                      </a:cubicBezTo>
                      <a:cubicBezTo>
                        <a:pt x="437558" y="1703733"/>
                        <a:pt x="392529" y="1732610"/>
                        <a:pt x="345543" y="1759040"/>
                      </a:cubicBezTo>
                      <a:cubicBezTo>
                        <a:pt x="311282" y="1779596"/>
                        <a:pt x="275064" y="1797216"/>
                        <a:pt x="242761" y="1820709"/>
                      </a:cubicBezTo>
                      <a:cubicBezTo>
                        <a:pt x="242761" y="1819241"/>
                        <a:pt x="241782" y="1816794"/>
                        <a:pt x="241782" y="1815325"/>
                      </a:cubicBezTo>
                      <a:cubicBezTo>
                        <a:pt x="242761" y="1545645"/>
                        <a:pt x="241782" y="1276454"/>
                        <a:pt x="242272" y="1006774"/>
                      </a:cubicBezTo>
                      <a:cubicBezTo>
                        <a:pt x="241782" y="903013"/>
                        <a:pt x="243740" y="799252"/>
                        <a:pt x="241293" y="695491"/>
                      </a:cubicBezTo>
                      <a:cubicBezTo>
                        <a:pt x="240314" y="603966"/>
                        <a:pt x="242761" y="512442"/>
                        <a:pt x="240314" y="420917"/>
                      </a:cubicBezTo>
                      <a:cubicBezTo>
                        <a:pt x="160046" y="376867"/>
                        <a:pt x="82226" y="327923"/>
                        <a:pt x="1468" y="284853"/>
                      </a:cubicBezTo>
                      <a:lnTo>
                        <a:pt x="0" y="280937"/>
                      </a:lnTo>
                      <a:cubicBezTo>
                        <a:pt x="3426" y="186965"/>
                        <a:pt x="-1958" y="93483"/>
                        <a:pt x="1468" y="0"/>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6" name="Graphic 2">
                  <a:extLst>
                    <a:ext uri="{FF2B5EF4-FFF2-40B4-BE49-F238E27FC236}">
                      <a16:creationId xmlns:a16="http://schemas.microsoft.com/office/drawing/2014/main" id="{80CA547F-BA21-478C-85B3-1453B17DC1A4}"/>
                    </a:ext>
                  </a:extLst>
                </p:cNvPr>
                <p:cNvSpPr/>
                <p:nvPr/>
              </p:nvSpPr>
              <p:spPr>
                <a:xfrm>
                  <a:off x="9160329" y="3829262"/>
                  <a:ext cx="80454" cy="55591"/>
                </a:xfrm>
                <a:custGeom>
                  <a:avLst/>
                  <a:gdLst>
                    <a:gd name="connsiteX0" fmla="*/ 12725 w 1208421"/>
                    <a:gd name="connsiteY0" fmla="*/ 552086 h 834981"/>
                    <a:gd name="connsiteX1" fmla="*/ 968597 w 1208421"/>
                    <a:gd name="connsiteY1" fmla="*/ 0 h 834981"/>
                    <a:gd name="connsiteX2" fmla="*/ 1208422 w 1208421"/>
                    <a:gd name="connsiteY2" fmla="*/ 138022 h 834981"/>
                    <a:gd name="connsiteX3" fmla="*/ 1113471 w 1208421"/>
                    <a:gd name="connsiteY3" fmla="*/ 195775 h 834981"/>
                    <a:gd name="connsiteX4" fmla="*/ 73416 w 1208421"/>
                    <a:gd name="connsiteY4" fmla="*/ 795826 h 834981"/>
                    <a:gd name="connsiteX5" fmla="*/ 0 w 1208421"/>
                    <a:gd name="connsiteY5" fmla="*/ 834981 h 834981"/>
                    <a:gd name="connsiteX6" fmla="*/ 489 w 1208421"/>
                    <a:gd name="connsiteY6" fmla="*/ 573621 h 834981"/>
                    <a:gd name="connsiteX7" fmla="*/ 12725 w 1208421"/>
                    <a:gd name="connsiteY7" fmla="*/ 552086 h 83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8421" h="834981">
                      <a:moveTo>
                        <a:pt x="12725" y="552086"/>
                      </a:moveTo>
                      <a:cubicBezTo>
                        <a:pt x="331349" y="368057"/>
                        <a:pt x="649973" y="184518"/>
                        <a:pt x="968597" y="0"/>
                      </a:cubicBezTo>
                      <a:cubicBezTo>
                        <a:pt x="1048865" y="45518"/>
                        <a:pt x="1128154" y="92504"/>
                        <a:pt x="1208422" y="138022"/>
                      </a:cubicBezTo>
                      <a:cubicBezTo>
                        <a:pt x="1179545" y="161514"/>
                        <a:pt x="1144795" y="176687"/>
                        <a:pt x="1113471" y="195775"/>
                      </a:cubicBezTo>
                      <a:cubicBezTo>
                        <a:pt x="766949" y="395955"/>
                        <a:pt x="420427" y="596136"/>
                        <a:pt x="73416" y="795826"/>
                      </a:cubicBezTo>
                      <a:cubicBezTo>
                        <a:pt x="48944" y="809041"/>
                        <a:pt x="26429" y="826171"/>
                        <a:pt x="0" y="834981"/>
                      </a:cubicBezTo>
                      <a:cubicBezTo>
                        <a:pt x="979" y="747861"/>
                        <a:pt x="0" y="660741"/>
                        <a:pt x="489" y="573621"/>
                      </a:cubicBezTo>
                      <a:cubicBezTo>
                        <a:pt x="-490" y="564322"/>
                        <a:pt x="3915" y="556002"/>
                        <a:pt x="12725" y="552086"/>
                      </a:cubicBezTo>
                      <a:close/>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7" name="Freeform: Shape 1866">
                  <a:extLst>
                    <a:ext uri="{FF2B5EF4-FFF2-40B4-BE49-F238E27FC236}">
                      <a16:creationId xmlns:a16="http://schemas.microsoft.com/office/drawing/2014/main" id="{26BAB9D3-815B-4147-93A6-30C17D5DAFBB}"/>
                    </a:ext>
                  </a:extLst>
                </p:cNvPr>
                <p:cNvSpPr/>
                <p:nvPr/>
              </p:nvSpPr>
              <p:spPr>
                <a:xfrm>
                  <a:off x="8902348" y="3810786"/>
                  <a:ext cx="64527" cy="74263"/>
                </a:xfrm>
                <a:custGeom>
                  <a:avLst/>
                  <a:gdLst>
                    <a:gd name="connsiteX0" fmla="*/ 37781 w 969203"/>
                    <a:gd name="connsiteY0" fmla="*/ 299390 h 1115429"/>
                    <a:gd name="connsiteX1" fmla="*/ 41908 w 969203"/>
                    <a:gd name="connsiteY1" fmla="*/ 301432 h 1115429"/>
                    <a:gd name="connsiteX2" fmla="*/ 48326 w 969203"/>
                    <a:gd name="connsiteY2" fmla="*/ 305104 h 1115429"/>
                    <a:gd name="connsiteX3" fmla="*/ 42275 w 969203"/>
                    <a:gd name="connsiteY3" fmla="*/ 301555 h 1115429"/>
                    <a:gd name="connsiteX4" fmla="*/ 3915 w 969203"/>
                    <a:gd name="connsiteY4" fmla="*/ 0 h 1115429"/>
                    <a:gd name="connsiteX5" fmla="*/ 243251 w 969203"/>
                    <a:gd name="connsiteY5" fmla="*/ 138511 h 1115429"/>
                    <a:gd name="connsiteX6" fmla="*/ 480628 w 969203"/>
                    <a:gd name="connsiteY6" fmla="*/ 275553 h 1115429"/>
                    <a:gd name="connsiteX7" fmla="*/ 725836 w 969203"/>
                    <a:gd name="connsiteY7" fmla="*/ 417001 h 1115429"/>
                    <a:gd name="connsiteX8" fmla="*/ 966150 w 969203"/>
                    <a:gd name="connsiteY8" fmla="*/ 554533 h 1115429"/>
                    <a:gd name="connsiteX9" fmla="*/ 967612 w 969203"/>
                    <a:gd name="connsiteY9" fmla="*/ 558431 h 1115429"/>
                    <a:gd name="connsiteX10" fmla="*/ 967619 w 969203"/>
                    <a:gd name="connsiteY10" fmla="*/ 557959 h 1115429"/>
                    <a:gd name="connsiteX11" fmla="*/ 967619 w 969203"/>
                    <a:gd name="connsiteY11" fmla="*/ 557469 h 1115429"/>
                    <a:gd name="connsiteX12" fmla="*/ 969087 w 969203"/>
                    <a:gd name="connsiteY12" fmla="*/ 561385 h 1115429"/>
                    <a:gd name="connsiteX13" fmla="*/ 969087 w 969203"/>
                    <a:gd name="connsiteY13" fmla="*/ 837428 h 1115429"/>
                    <a:gd name="connsiteX14" fmla="*/ 967619 w 969203"/>
                    <a:gd name="connsiteY14" fmla="*/ 1115429 h 1115429"/>
                    <a:gd name="connsiteX15" fmla="*/ 979 w 969203"/>
                    <a:gd name="connsiteY15" fmla="*/ 556980 h 1115429"/>
                    <a:gd name="connsiteX16" fmla="*/ 491 w 969203"/>
                    <a:gd name="connsiteY16" fmla="*/ 281428 h 1115429"/>
                    <a:gd name="connsiteX17" fmla="*/ 489 w 969203"/>
                    <a:gd name="connsiteY17" fmla="*/ 281427 h 1115429"/>
                    <a:gd name="connsiteX18" fmla="*/ 489 w 969203"/>
                    <a:gd name="connsiteY18" fmla="*/ 277022 h 1115429"/>
                    <a:gd name="connsiteX19" fmla="*/ 0 w 969203"/>
                    <a:gd name="connsiteY19" fmla="*/ 47965 h 1115429"/>
                    <a:gd name="connsiteX20" fmla="*/ 3915 w 969203"/>
                    <a:gd name="connsiteY20" fmla="*/ 0 h 11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69203" h="1115429">
                      <a:moveTo>
                        <a:pt x="37781" y="299390"/>
                      </a:moveTo>
                      <a:lnTo>
                        <a:pt x="41908" y="301432"/>
                      </a:lnTo>
                      <a:lnTo>
                        <a:pt x="48326" y="305104"/>
                      </a:lnTo>
                      <a:lnTo>
                        <a:pt x="42275" y="301555"/>
                      </a:lnTo>
                      <a:close/>
                      <a:moveTo>
                        <a:pt x="3915" y="0"/>
                      </a:moveTo>
                      <a:cubicBezTo>
                        <a:pt x="83204" y="47475"/>
                        <a:pt x="162983" y="92993"/>
                        <a:pt x="243251" y="138511"/>
                      </a:cubicBezTo>
                      <a:cubicBezTo>
                        <a:pt x="323029" y="183539"/>
                        <a:pt x="401829" y="229546"/>
                        <a:pt x="480628" y="275553"/>
                      </a:cubicBezTo>
                      <a:cubicBezTo>
                        <a:pt x="561875" y="323518"/>
                        <a:pt x="643121" y="370994"/>
                        <a:pt x="725836" y="417001"/>
                      </a:cubicBezTo>
                      <a:cubicBezTo>
                        <a:pt x="806104" y="462519"/>
                        <a:pt x="885393" y="510484"/>
                        <a:pt x="966150" y="554533"/>
                      </a:cubicBezTo>
                      <a:lnTo>
                        <a:pt x="967612" y="558431"/>
                      </a:lnTo>
                      <a:lnTo>
                        <a:pt x="967619" y="557959"/>
                      </a:lnTo>
                      <a:lnTo>
                        <a:pt x="967619" y="557469"/>
                      </a:lnTo>
                      <a:lnTo>
                        <a:pt x="969087" y="561385"/>
                      </a:lnTo>
                      <a:cubicBezTo>
                        <a:pt x="968598" y="653399"/>
                        <a:pt x="968598" y="745414"/>
                        <a:pt x="969087" y="837428"/>
                      </a:cubicBezTo>
                      <a:cubicBezTo>
                        <a:pt x="967619" y="929932"/>
                        <a:pt x="971045" y="1022925"/>
                        <a:pt x="967619" y="1115429"/>
                      </a:cubicBezTo>
                      <a:cubicBezTo>
                        <a:pt x="645569" y="928953"/>
                        <a:pt x="323029" y="742966"/>
                        <a:pt x="979" y="556980"/>
                      </a:cubicBezTo>
                      <a:lnTo>
                        <a:pt x="491" y="281428"/>
                      </a:lnTo>
                      <a:lnTo>
                        <a:pt x="489" y="281427"/>
                      </a:lnTo>
                      <a:lnTo>
                        <a:pt x="489" y="277022"/>
                      </a:lnTo>
                      <a:cubicBezTo>
                        <a:pt x="-489" y="200670"/>
                        <a:pt x="979" y="124317"/>
                        <a:pt x="0" y="47965"/>
                      </a:cubicBezTo>
                      <a:cubicBezTo>
                        <a:pt x="0" y="31813"/>
                        <a:pt x="1468" y="16151"/>
                        <a:pt x="3915" y="0"/>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8" name="Graphic 2">
                  <a:extLst>
                    <a:ext uri="{FF2B5EF4-FFF2-40B4-BE49-F238E27FC236}">
                      <a16:creationId xmlns:a16="http://schemas.microsoft.com/office/drawing/2014/main" id="{F4D122A8-B67A-4BBE-98D1-88AD42EDD84D}"/>
                    </a:ext>
                  </a:extLst>
                </p:cNvPr>
                <p:cNvSpPr/>
                <p:nvPr/>
              </p:nvSpPr>
              <p:spPr>
                <a:xfrm>
                  <a:off x="8982867" y="3838484"/>
                  <a:ext cx="16228" cy="27893"/>
                </a:xfrm>
                <a:custGeom>
                  <a:avLst/>
                  <a:gdLst>
                    <a:gd name="connsiteX0" fmla="*/ 0 w 243740"/>
                    <a:gd name="connsiteY0" fmla="*/ 0 h 418958"/>
                    <a:gd name="connsiteX1" fmla="*/ 2447 w 243740"/>
                    <a:gd name="connsiteY1" fmla="*/ 1468 h 418958"/>
                    <a:gd name="connsiteX2" fmla="*/ 35240 w 243740"/>
                    <a:gd name="connsiteY2" fmla="*/ 23003 h 418958"/>
                    <a:gd name="connsiteX3" fmla="*/ 243740 w 243740"/>
                    <a:gd name="connsiteY3" fmla="*/ 142916 h 418958"/>
                    <a:gd name="connsiteX4" fmla="*/ 242272 w 243740"/>
                    <a:gd name="connsiteY4" fmla="*/ 418959 h 418958"/>
                    <a:gd name="connsiteX5" fmla="*/ 2447 w 243740"/>
                    <a:gd name="connsiteY5" fmla="*/ 283384 h 418958"/>
                    <a:gd name="connsiteX6" fmla="*/ 0 w 243740"/>
                    <a:gd name="connsiteY6" fmla="*/ 0 h 41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740" h="418958">
                      <a:moveTo>
                        <a:pt x="0" y="0"/>
                      </a:moveTo>
                      <a:lnTo>
                        <a:pt x="2447" y="1468"/>
                      </a:lnTo>
                      <a:cubicBezTo>
                        <a:pt x="13215" y="8810"/>
                        <a:pt x="23982" y="16641"/>
                        <a:pt x="35240" y="23003"/>
                      </a:cubicBezTo>
                      <a:cubicBezTo>
                        <a:pt x="104740" y="62648"/>
                        <a:pt x="174240" y="103271"/>
                        <a:pt x="243740" y="142916"/>
                      </a:cubicBezTo>
                      <a:cubicBezTo>
                        <a:pt x="241782" y="234930"/>
                        <a:pt x="244229" y="326944"/>
                        <a:pt x="242272" y="418959"/>
                      </a:cubicBezTo>
                      <a:cubicBezTo>
                        <a:pt x="161515" y="375399"/>
                        <a:pt x="84183" y="325966"/>
                        <a:pt x="2447" y="283384"/>
                      </a:cubicBezTo>
                      <a:cubicBezTo>
                        <a:pt x="-1958" y="189412"/>
                        <a:pt x="3915" y="94461"/>
                        <a:pt x="0" y="0"/>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69" name="Graphic 2">
                  <a:extLst>
                    <a:ext uri="{FF2B5EF4-FFF2-40B4-BE49-F238E27FC236}">
                      <a16:creationId xmlns:a16="http://schemas.microsoft.com/office/drawing/2014/main" id="{1EC7CCFD-B0EA-44E4-8109-9DF0EB74A5B7}"/>
                    </a:ext>
                  </a:extLst>
                </p:cNvPr>
                <p:cNvSpPr/>
                <p:nvPr/>
              </p:nvSpPr>
              <p:spPr>
                <a:xfrm>
                  <a:off x="8983095" y="3847608"/>
                  <a:ext cx="16265" cy="37376"/>
                </a:xfrm>
                <a:custGeom>
                  <a:avLst/>
                  <a:gdLst>
                    <a:gd name="connsiteX0" fmla="*/ 240803 w 244305"/>
                    <a:gd name="connsiteY0" fmla="*/ 6363 h 561384"/>
                    <a:gd name="connsiteX1" fmla="*/ 243740 w 244305"/>
                    <a:gd name="connsiteY1" fmla="*/ 0 h 561384"/>
                    <a:gd name="connsiteX2" fmla="*/ 243740 w 244305"/>
                    <a:gd name="connsiteY2" fmla="*/ 4405 h 561384"/>
                    <a:gd name="connsiteX3" fmla="*/ 243740 w 244305"/>
                    <a:gd name="connsiteY3" fmla="*/ 283874 h 561384"/>
                    <a:gd name="connsiteX4" fmla="*/ 241293 w 244305"/>
                    <a:gd name="connsiteY4" fmla="*/ 561385 h 561384"/>
                    <a:gd name="connsiteX5" fmla="*/ 2447 w 244305"/>
                    <a:gd name="connsiteY5" fmla="*/ 425811 h 561384"/>
                    <a:gd name="connsiteX6" fmla="*/ 0 w 244305"/>
                    <a:gd name="connsiteY6" fmla="*/ 146831 h 561384"/>
                    <a:gd name="connsiteX7" fmla="*/ 239825 w 244305"/>
                    <a:gd name="connsiteY7" fmla="*/ 282405 h 561384"/>
                    <a:gd name="connsiteX8" fmla="*/ 240803 w 244305"/>
                    <a:gd name="connsiteY8" fmla="*/ 6363 h 561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305" h="561384">
                      <a:moveTo>
                        <a:pt x="240803" y="6363"/>
                      </a:moveTo>
                      <a:cubicBezTo>
                        <a:pt x="241293" y="4894"/>
                        <a:pt x="242761" y="1468"/>
                        <a:pt x="243740" y="0"/>
                      </a:cubicBezTo>
                      <a:lnTo>
                        <a:pt x="243740" y="4405"/>
                      </a:lnTo>
                      <a:cubicBezTo>
                        <a:pt x="244229" y="97398"/>
                        <a:pt x="244719" y="190881"/>
                        <a:pt x="243740" y="283874"/>
                      </a:cubicBezTo>
                      <a:cubicBezTo>
                        <a:pt x="238846" y="376378"/>
                        <a:pt x="243250" y="468881"/>
                        <a:pt x="241293" y="561385"/>
                      </a:cubicBezTo>
                      <a:cubicBezTo>
                        <a:pt x="160536" y="518804"/>
                        <a:pt x="82715" y="470350"/>
                        <a:pt x="2447" y="425811"/>
                      </a:cubicBezTo>
                      <a:cubicBezTo>
                        <a:pt x="0" y="332818"/>
                        <a:pt x="4894" y="239825"/>
                        <a:pt x="0" y="146831"/>
                      </a:cubicBezTo>
                      <a:cubicBezTo>
                        <a:pt x="81247" y="189412"/>
                        <a:pt x="158578" y="238846"/>
                        <a:pt x="239825" y="282405"/>
                      </a:cubicBezTo>
                      <a:cubicBezTo>
                        <a:pt x="241293" y="190391"/>
                        <a:pt x="238846" y="98377"/>
                        <a:pt x="240803" y="6363"/>
                      </a:cubicBezTo>
                      <a:close/>
                    </a:path>
                  </a:pathLst>
                </a:custGeom>
                <a:solidFill>
                  <a:schemeClr val="bg1"/>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0" name="Graphic 2">
                  <a:extLst>
                    <a:ext uri="{FF2B5EF4-FFF2-40B4-BE49-F238E27FC236}">
                      <a16:creationId xmlns:a16="http://schemas.microsoft.com/office/drawing/2014/main" id="{2897435D-CDB4-402D-81EE-82BDA47CD850}"/>
                    </a:ext>
                  </a:extLst>
                </p:cNvPr>
                <p:cNvSpPr/>
                <p:nvPr/>
              </p:nvSpPr>
              <p:spPr>
                <a:xfrm>
                  <a:off x="8886446" y="3847869"/>
                  <a:ext cx="80291" cy="55461"/>
                </a:xfrm>
                <a:custGeom>
                  <a:avLst/>
                  <a:gdLst>
                    <a:gd name="connsiteX0" fmla="*/ 0 w 1205975"/>
                    <a:gd name="connsiteY0" fmla="*/ 139000 h 833023"/>
                    <a:gd name="connsiteX1" fmla="*/ 239335 w 1205975"/>
                    <a:gd name="connsiteY1" fmla="*/ 0 h 833023"/>
                    <a:gd name="connsiteX2" fmla="*/ 1205975 w 1205975"/>
                    <a:gd name="connsiteY2" fmla="*/ 558449 h 833023"/>
                    <a:gd name="connsiteX3" fmla="*/ 1203528 w 1205975"/>
                    <a:gd name="connsiteY3" fmla="*/ 833023 h 833023"/>
                    <a:gd name="connsiteX4" fmla="*/ 1146753 w 1205975"/>
                    <a:gd name="connsiteY4" fmla="*/ 802188 h 833023"/>
                    <a:gd name="connsiteX5" fmla="*/ 0 w 1205975"/>
                    <a:gd name="connsiteY5" fmla="*/ 139000 h 833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5975" h="833023">
                      <a:moveTo>
                        <a:pt x="0" y="139000"/>
                      </a:moveTo>
                      <a:cubicBezTo>
                        <a:pt x="79289" y="92014"/>
                        <a:pt x="159557" y="46497"/>
                        <a:pt x="239335" y="0"/>
                      </a:cubicBezTo>
                      <a:cubicBezTo>
                        <a:pt x="561875" y="185986"/>
                        <a:pt x="883925" y="371973"/>
                        <a:pt x="1205975" y="558449"/>
                      </a:cubicBezTo>
                      <a:cubicBezTo>
                        <a:pt x="1202060" y="649973"/>
                        <a:pt x="1206464" y="741498"/>
                        <a:pt x="1203528" y="833023"/>
                      </a:cubicBezTo>
                      <a:cubicBezTo>
                        <a:pt x="1183950" y="823724"/>
                        <a:pt x="1165352" y="812956"/>
                        <a:pt x="1146753" y="802188"/>
                      </a:cubicBezTo>
                      <a:cubicBezTo>
                        <a:pt x="764992" y="580963"/>
                        <a:pt x="381762" y="361205"/>
                        <a:pt x="0" y="139000"/>
                      </a:cubicBezTo>
                      <a:close/>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1" name="Graphic 2">
                  <a:extLst>
                    <a:ext uri="{FF2B5EF4-FFF2-40B4-BE49-F238E27FC236}">
                      <a16:creationId xmlns:a16="http://schemas.microsoft.com/office/drawing/2014/main" id="{30490881-D270-4242-BB84-A5ACF696B54F}"/>
                    </a:ext>
                  </a:extLst>
                </p:cNvPr>
                <p:cNvSpPr/>
                <p:nvPr/>
              </p:nvSpPr>
              <p:spPr>
                <a:xfrm>
                  <a:off x="8999291" y="3847869"/>
                  <a:ext cx="16000" cy="27926"/>
                </a:xfrm>
                <a:custGeom>
                  <a:avLst/>
                  <a:gdLst>
                    <a:gd name="connsiteX0" fmla="*/ 0 w 240314"/>
                    <a:gd name="connsiteY0" fmla="*/ 0 h 419448"/>
                    <a:gd name="connsiteX1" fmla="*/ 240314 w 240314"/>
                    <a:gd name="connsiteY1" fmla="*/ 139000 h 419448"/>
                    <a:gd name="connsiteX2" fmla="*/ 239825 w 240314"/>
                    <a:gd name="connsiteY2" fmla="*/ 142916 h 419448"/>
                    <a:gd name="connsiteX3" fmla="*/ 238846 w 240314"/>
                    <a:gd name="connsiteY3" fmla="*/ 419448 h 419448"/>
                    <a:gd name="connsiteX4" fmla="*/ 0 w 240314"/>
                    <a:gd name="connsiteY4" fmla="*/ 283874 h 419448"/>
                    <a:gd name="connsiteX5" fmla="*/ 0 w 240314"/>
                    <a:gd name="connsiteY5" fmla="*/ 279469 h 419448"/>
                    <a:gd name="connsiteX6" fmla="*/ 0 w 240314"/>
                    <a:gd name="connsiteY6" fmla="*/ 0 h 41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314" h="419448">
                      <a:moveTo>
                        <a:pt x="0" y="0"/>
                      </a:moveTo>
                      <a:cubicBezTo>
                        <a:pt x="80268" y="46497"/>
                        <a:pt x="160536" y="92504"/>
                        <a:pt x="240314" y="139000"/>
                      </a:cubicBezTo>
                      <a:lnTo>
                        <a:pt x="239825" y="142916"/>
                      </a:lnTo>
                      <a:cubicBezTo>
                        <a:pt x="238356" y="234930"/>
                        <a:pt x="240314" y="327434"/>
                        <a:pt x="238846" y="419448"/>
                      </a:cubicBezTo>
                      <a:cubicBezTo>
                        <a:pt x="158578" y="375888"/>
                        <a:pt x="80757" y="326944"/>
                        <a:pt x="0" y="283874"/>
                      </a:cubicBezTo>
                      <a:lnTo>
                        <a:pt x="0" y="279469"/>
                      </a:lnTo>
                      <a:cubicBezTo>
                        <a:pt x="979" y="186476"/>
                        <a:pt x="490" y="93483"/>
                        <a:pt x="0" y="0"/>
                      </a:cubicBezTo>
                      <a:close/>
                    </a:path>
                  </a:pathLst>
                </a:custGeom>
                <a:solidFill>
                  <a:schemeClr val="bg1"/>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2" name="Graphic 2">
                  <a:extLst>
                    <a:ext uri="{FF2B5EF4-FFF2-40B4-BE49-F238E27FC236}">
                      <a16:creationId xmlns:a16="http://schemas.microsoft.com/office/drawing/2014/main" id="{143B3E7A-5F06-4B15-B682-45CE6A02E536}"/>
                    </a:ext>
                  </a:extLst>
                </p:cNvPr>
                <p:cNvSpPr/>
                <p:nvPr/>
              </p:nvSpPr>
              <p:spPr>
                <a:xfrm>
                  <a:off x="8773569" y="3848032"/>
                  <a:ext cx="580254" cy="223082"/>
                </a:xfrm>
                <a:custGeom>
                  <a:avLst/>
                  <a:gdLst>
                    <a:gd name="connsiteX0" fmla="*/ 1352317 w 8715420"/>
                    <a:gd name="connsiteY0" fmla="*/ 54327 h 3350691"/>
                    <a:gd name="connsiteX1" fmla="*/ 1448736 w 8715420"/>
                    <a:gd name="connsiteY1" fmla="*/ 0 h 3350691"/>
                    <a:gd name="connsiteX2" fmla="*/ 1450205 w 8715420"/>
                    <a:gd name="connsiteY2" fmla="*/ 62648 h 3350691"/>
                    <a:gd name="connsiteX3" fmla="*/ 1450205 w 8715420"/>
                    <a:gd name="connsiteY3" fmla="*/ 512931 h 3350691"/>
                    <a:gd name="connsiteX4" fmla="*/ 1451183 w 8715420"/>
                    <a:gd name="connsiteY4" fmla="*/ 838407 h 3350691"/>
                    <a:gd name="connsiteX5" fmla="*/ 1898530 w 8715420"/>
                    <a:gd name="connsiteY5" fmla="*/ 1095851 h 3350691"/>
                    <a:gd name="connsiteX6" fmla="*/ 3124571 w 8715420"/>
                    <a:gd name="connsiteY6" fmla="*/ 1804068 h 3350691"/>
                    <a:gd name="connsiteX7" fmla="*/ 3147575 w 8715420"/>
                    <a:gd name="connsiteY7" fmla="*/ 1814346 h 3350691"/>
                    <a:gd name="connsiteX8" fmla="*/ 3384952 w 8715420"/>
                    <a:gd name="connsiteY8" fmla="*/ 1678772 h 3350691"/>
                    <a:gd name="connsiteX9" fmla="*/ 3394252 w 8715420"/>
                    <a:gd name="connsiteY9" fmla="*/ 1679262 h 3350691"/>
                    <a:gd name="connsiteX10" fmla="*/ 3478925 w 8715420"/>
                    <a:gd name="connsiteY10" fmla="*/ 1725268 h 3350691"/>
                    <a:gd name="connsiteX11" fmla="*/ 3974236 w 8715420"/>
                    <a:gd name="connsiteY11" fmla="*/ 2011100 h 3350691"/>
                    <a:gd name="connsiteX12" fmla="*/ 4113726 w 8715420"/>
                    <a:gd name="connsiteY12" fmla="*/ 2089410 h 3350691"/>
                    <a:gd name="connsiteX13" fmla="*/ 4113726 w 8715420"/>
                    <a:gd name="connsiteY13" fmla="*/ 2097241 h 3350691"/>
                    <a:gd name="connsiteX14" fmla="*/ 4113726 w 8715420"/>
                    <a:gd name="connsiteY14" fmla="*/ 2376221 h 3350691"/>
                    <a:gd name="connsiteX15" fmla="*/ 4355997 w 8715420"/>
                    <a:gd name="connsiteY15" fmla="*/ 2514242 h 3350691"/>
                    <a:gd name="connsiteX16" fmla="*/ 4765657 w 8715420"/>
                    <a:gd name="connsiteY16" fmla="*/ 2278333 h 3350691"/>
                    <a:gd name="connsiteX17" fmla="*/ 7262279 w 8715420"/>
                    <a:gd name="connsiteY17" fmla="*/ 837428 h 3350691"/>
                    <a:gd name="connsiteX18" fmla="*/ 7262279 w 8715420"/>
                    <a:gd name="connsiteY18" fmla="*/ 558449 h 3350691"/>
                    <a:gd name="connsiteX19" fmla="*/ 7263748 w 8715420"/>
                    <a:gd name="connsiteY19" fmla="*/ 489 h 3350691"/>
                    <a:gd name="connsiteX20" fmla="*/ 7479590 w 8715420"/>
                    <a:gd name="connsiteY20" fmla="*/ 123828 h 3350691"/>
                    <a:gd name="connsiteX21" fmla="*/ 8715420 w 8715420"/>
                    <a:gd name="connsiteY21" fmla="*/ 837428 h 3350691"/>
                    <a:gd name="connsiteX22" fmla="*/ 8704653 w 8715420"/>
                    <a:gd name="connsiteY22" fmla="*/ 845749 h 3350691"/>
                    <a:gd name="connsiteX23" fmla="*/ 8611660 w 8715420"/>
                    <a:gd name="connsiteY23" fmla="*/ 901055 h 3350691"/>
                    <a:gd name="connsiteX24" fmla="*/ 4397110 w 8715420"/>
                    <a:gd name="connsiteY24" fmla="*/ 3334540 h 3350691"/>
                    <a:gd name="connsiteX25" fmla="*/ 4365786 w 8715420"/>
                    <a:gd name="connsiteY25" fmla="*/ 3350692 h 3350691"/>
                    <a:gd name="connsiteX26" fmla="*/ 4285029 w 8715420"/>
                    <a:gd name="connsiteY26" fmla="*/ 3309579 h 3350691"/>
                    <a:gd name="connsiteX27" fmla="*/ 230036 w 8715420"/>
                    <a:gd name="connsiteY27" fmla="*/ 967619 h 3350691"/>
                    <a:gd name="connsiteX28" fmla="*/ 0 w 8715420"/>
                    <a:gd name="connsiteY28" fmla="*/ 835471 h 3350691"/>
                    <a:gd name="connsiteX29" fmla="*/ 1352317 w 8715420"/>
                    <a:gd name="connsiteY29" fmla="*/ 54327 h 3350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715420" h="3350691">
                      <a:moveTo>
                        <a:pt x="1352317" y="54327"/>
                      </a:moveTo>
                      <a:cubicBezTo>
                        <a:pt x="1384620" y="36218"/>
                        <a:pt x="1415454" y="16641"/>
                        <a:pt x="1448736" y="0"/>
                      </a:cubicBezTo>
                      <a:cubicBezTo>
                        <a:pt x="1450694" y="21046"/>
                        <a:pt x="1450205" y="42092"/>
                        <a:pt x="1450205" y="62648"/>
                      </a:cubicBezTo>
                      <a:cubicBezTo>
                        <a:pt x="1450205" y="212905"/>
                        <a:pt x="1450205" y="362673"/>
                        <a:pt x="1450205" y="512931"/>
                      </a:cubicBezTo>
                      <a:cubicBezTo>
                        <a:pt x="1450694" y="621586"/>
                        <a:pt x="1448247" y="730241"/>
                        <a:pt x="1451183" y="838407"/>
                      </a:cubicBezTo>
                      <a:cubicBezTo>
                        <a:pt x="1601441" y="922590"/>
                        <a:pt x="1749251" y="1010200"/>
                        <a:pt x="1898530" y="1095851"/>
                      </a:cubicBezTo>
                      <a:cubicBezTo>
                        <a:pt x="2307210" y="1331761"/>
                        <a:pt x="2716380" y="1567669"/>
                        <a:pt x="3124571" y="1804068"/>
                      </a:cubicBezTo>
                      <a:cubicBezTo>
                        <a:pt x="3131913" y="1807983"/>
                        <a:pt x="3139744" y="1811410"/>
                        <a:pt x="3147575" y="1814346"/>
                      </a:cubicBezTo>
                      <a:cubicBezTo>
                        <a:pt x="3226864" y="1769318"/>
                        <a:pt x="3304685" y="1721842"/>
                        <a:pt x="3384952" y="1678772"/>
                      </a:cubicBezTo>
                      <a:cubicBezTo>
                        <a:pt x="3387400" y="1678772"/>
                        <a:pt x="3392294" y="1679262"/>
                        <a:pt x="3394252" y="1679262"/>
                      </a:cubicBezTo>
                      <a:cubicBezTo>
                        <a:pt x="3424108" y="1691008"/>
                        <a:pt x="3451027" y="1709606"/>
                        <a:pt x="3478925" y="1725268"/>
                      </a:cubicBezTo>
                      <a:cubicBezTo>
                        <a:pt x="3644355" y="1820219"/>
                        <a:pt x="3808806" y="1916149"/>
                        <a:pt x="3974236" y="2011100"/>
                      </a:cubicBezTo>
                      <a:cubicBezTo>
                        <a:pt x="4021222" y="2037040"/>
                        <a:pt x="4065760" y="2066407"/>
                        <a:pt x="4113726" y="2089410"/>
                      </a:cubicBezTo>
                      <a:cubicBezTo>
                        <a:pt x="4113726" y="2091368"/>
                        <a:pt x="4113726" y="2095284"/>
                        <a:pt x="4113726" y="2097241"/>
                      </a:cubicBezTo>
                      <a:cubicBezTo>
                        <a:pt x="4113236" y="2190234"/>
                        <a:pt x="4112747" y="2283227"/>
                        <a:pt x="4113726" y="2376221"/>
                      </a:cubicBezTo>
                      <a:cubicBezTo>
                        <a:pt x="4195462" y="2420760"/>
                        <a:pt x="4274261" y="2469704"/>
                        <a:pt x="4355997" y="2514242"/>
                      </a:cubicBezTo>
                      <a:cubicBezTo>
                        <a:pt x="4493040" y="2436911"/>
                        <a:pt x="4629104" y="2356643"/>
                        <a:pt x="4765657" y="2278333"/>
                      </a:cubicBezTo>
                      <a:cubicBezTo>
                        <a:pt x="5597701" y="1798195"/>
                        <a:pt x="6429746" y="1317077"/>
                        <a:pt x="7262279" y="837428"/>
                      </a:cubicBezTo>
                      <a:cubicBezTo>
                        <a:pt x="7262769" y="744435"/>
                        <a:pt x="7262769" y="651442"/>
                        <a:pt x="7262279" y="558449"/>
                      </a:cubicBezTo>
                      <a:cubicBezTo>
                        <a:pt x="7263258" y="372462"/>
                        <a:pt x="7260811" y="186476"/>
                        <a:pt x="7263748" y="489"/>
                      </a:cubicBezTo>
                      <a:cubicBezTo>
                        <a:pt x="7336674" y="39644"/>
                        <a:pt x="7407153" y="82715"/>
                        <a:pt x="7479590" y="123828"/>
                      </a:cubicBezTo>
                      <a:cubicBezTo>
                        <a:pt x="7891697" y="361694"/>
                        <a:pt x="8303314" y="599561"/>
                        <a:pt x="8715420" y="837428"/>
                      </a:cubicBezTo>
                      <a:cubicBezTo>
                        <a:pt x="8711505" y="840365"/>
                        <a:pt x="8708079" y="842812"/>
                        <a:pt x="8704653" y="845749"/>
                      </a:cubicBezTo>
                      <a:cubicBezTo>
                        <a:pt x="8674797" y="866305"/>
                        <a:pt x="8642984" y="883435"/>
                        <a:pt x="8611660" y="901055"/>
                      </a:cubicBezTo>
                      <a:cubicBezTo>
                        <a:pt x="7206973" y="1712054"/>
                        <a:pt x="5801797" y="2523542"/>
                        <a:pt x="4397110" y="3334540"/>
                      </a:cubicBezTo>
                      <a:cubicBezTo>
                        <a:pt x="4386832" y="3339924"/>
                        <a:pt x="4376064" y="3344818"/>
                        <a:pt x="4365786" y="3350692"/>
                      </a:cubicBezTo>
                      <a:cubicBezTo>
                        <a:pt x="4336420" y="3341882"/>
                        <a:pt x="4310969" y="3324751"/>
                        <a:pt x="4285029" y="3309579"/>
                      </a:cubicBezTo>
                      <a:cubicBezTo>
                        <a:pt x="2933201" y="2528436"/>
                        <a:pt x="1581374" y="1747783"/>
                        <a:pt x="230036" y="967619"/>
                      </a:cubicBezTo>
                      <a:cubicBezTo>
                        <a:pt x="153194" y="923569"/>
                        <a:pt x="77331" y="878541"/>
                        <a:pt x="0" y="835471"/>
                      </a:cubicBezTo>
                      <a:cubicBezTo>
                        <a:pt x="450283" y="574600"/>
                        <a:pt x="901545" y="314708"/>
                        <a:pt x="1352317" y="54327"/>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3" name="Graphic 2">
                  <a:extLst>
                    <a:ext uri="{FF2B5EF4-FFF2-40B4-BE49-F238E27FC236}">
                      <a16:creationId xmlns:a16="http://schemas.microsoft.com/office/drawing/2014/main" id="{5C3F2002-60D6-472A-A759-AA9A1269D25F}"/>
                    </a:ext>
                  </a:extLst>
                </p:cNvPr>
                <p:cNvSpPr/>
                <p:nvPr/>
              </p:nvSpPr>
              <p:spPr>
                <a:xfrm>
                  <a:off x="8966830" y="3848162"/>
                  <a:ext cx="16029" cy="27339"/>
                </a:xfrm>
                <a:custGeom>
                  <a:avLst/>
                  <a:gdLst>
                    <a:gd name="connsiteX0" fmla="*/ 565 w 240755"/>
                    <a:gd name="connsiteY0" fmla="*/ 0 h 410638"/>
                    <a:gd name="connsiteX1" fmla="*/ 239411 w 240755"/>
                    <a:gd name="connsiteY1" fmla="*/ 136064 h 410638"/>
                    <a:gd name="connsiteX2" fmla="*/ 240390 w 240755"/>
                    <a:gd name="connsiteY2" fmla="*/ 410638 h 410638"/>
                    <a:gd name="connsiteX3" fmla="*/ 212002 w 240755"/>
                    <a:gd name="connsiteY3" fmla="*/ 396934 h 410638"/>
                    <a:gd name="connsiteX4" fmla="*/ 565 w 240755"/>
                    <a:gd name="connsiteY4" fmla="*/ 276043 h 410638"/>
                    <a:gd name="connsiteX5" fmla="*/ 565 w 240755"/>
                    <a:gd name="connsiteY5" fmla="*/ 0 h 410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0755" h="410638">
                      <a:moveTo>
                        <a:pt x="565" y="0"/>
                      </a:moveTo>
                      <a:cubicBezTo>
                        <a:pt x="81322" y="43560"/>
                        <a:pt x="159143" y="92015"/>
                        <a:pt x="239411" y="136064"/>
                      </a:cubicBezTo>
                      <a:cubicBezTo>
                        <a:pt x="242347" y="227589"/>
                        <a:pt x="239411" y="319114"/>
                        <a:pt x="240390" y="410638"/>
                      </a:cubicBezTo>
                      <a:cubicBezTo>
                        <a:pt x="230601" y="406233"/>
                        <a:pt x="221302" y="401829"/>
                        <a:pt x="212002" y="396934"/>
                      </a:cubicBezTo>
                      <a:cubicBezTo>
                        <a:pt x="141034" y="357290"/>
                        <a:pt x="72512" y="313730"/>
                        <a:pt x="565" y="276043"/>
                      </a:cubicBezTo>
                      <a:cubicBezTo>
                        <a:pt x="76" y="184518"/>
                        <a:pt x="-414" y="92015"/>
                        <a:pt x="565" y="0"/>
                      </a:cubicBezTo>
                      <a:close/>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4" name="Graphic 2">
                  <a:extLst>
                    <a:ext uri="{FF2B5EF4-FFF2-40B4-BE49-F238E27FC236}">
                      <a16:creationId xmlns:a16="http://schemas.microsoft.com/office/drawing/2014/main" id="{22BFDDAA-BA73-4DEA-83A6-F87A69FB359D}"/>
                    </a:ext>
                  </a:extLst>
                </p:cNvPr>
                <p:cNvSpPr/>
                <p:nvPr/>
              </p:nvSpPr>
              <p:spPr>
                <a:xfrm>
                  <a:off x="9015192" y="3857384"/>
                  <a:ext cx="15967" cy="27568"/>
                </a:xfrm>
                <a:custGeom>
                  <a:avLst/>
                  <a:gdLst>
                    <a:gd name="connsiteX0" fmla="*/ 979 w 239824"/>
                    <a:gd name="connsiteY0" fmla="*/ 0 h 414064"/>
                    <a:gd name="connsiteX1" fmla="*/ 238356 w 239824"/>
                    <a:gd name="connsiteY1" fmla="*/ 136064 h 414064"/>
                    <a:gd name="connsiteX2" fmla="*/ 239825 w 239824"/>
                    <a:gd name="connsiteY2" fmla="*/ 414064 h 414064"/>
                    <a:gd name="connsiteX3" fmla="*/ 0 w 239824"/>
                    <a:gd name="connsiteY3" fmla="*/ 277022 h 414064"/>
                    <a:gd name="connsiteX4" fmla="*/ 979 w 239824"/>
                    <a:gd name="connsiteY4" fmla="*/ 0 h 41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4" h="414064">
                      <a:moveTo>
                        <a:pt x="979" y="0"/>
                      </a:moveTo>
                      <a:cubicBezTo>
                        <a:pt x="80268" y="44539"/>
                        <a:pt x="158578" y="91525"/>
                        <a:pt x="238356" y="136064"/>
                      </a:cubicBezTo>
                      <a:cubicBezTo>
                        <a:pt x="240803" y="228567"/>
                        <a:pt x="237377" y="321560"/>
                        <a:pt x="239825" y="414064"/>
                      </a:cubicBezTo>
                      <a:cubicBezTo>
                        <a:pt x="159067" y="370015"/>
                        <a:pt x="80268" y="322050"/>
                        <a:pt x="0" y="277022"/>
                      </a:cubicBezTo>
                      <a:cubicBezTo>
                        <a:pt x="1468" y="184518"/>
                        <a:pt x="-490" y="92504"/>
                        <a:pt x="979" y="0"/>
                      </a:cubicBezTo>
                      <a:close/>
                    </a:path>
                  </a:pathLst>
                </a:custGeom>
                <a:solidFill>
                  <a:srgbClr val="D96930"/>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5" name="Graphic 2">
                  <a:extLst>
                    <a:ext uri="{FF2B5EF4-FFF2-40B4-BE49-F238E27FC236}">
                      <a16:creationId xmlns:a16="http://schemas.microsoft.com/office/drawing/2014/main" id="{889EF398-C4EB-422A-A273-14A2D1CB1FBA}"/>
                    </a:ext>
                  </a:extLst>
                </p:cNvPr>
                <p:cNvSpPr/>
                <p:nvPr/>
              </p:nvSpPr>
              <p:spPr>
                <a:xfrm>
                  <a:off x="8998932" y="3866508"/>
                  <a:ext cx="48535" cy="102352"/>
                </a:xfrm>
                <a:custGeom>
                  <a:avLst/>
                  <a:gdLst>
                    <a:gd name="connsiteX0" fmla="*/ 2937 w 728990"/>
                    <a:gd name="connsiteY0" fmla="*/ 277511 h 1537324"/>
                    <a:gd name="connsiteX1" fmla="*/ 5384 w 728990"/>
                    <a:gd name="connsiteY1" fmla="*/ 0 h 1537324"/>
                    <a:gd name="connsiteX2" fmla="*/ 5384 w 728990"/>
                    <a:gd name="connsiteY2" fmla="*/ 4405 h 1537324"/>
                    <a:gd name="connsiteX3" fmla="*/ 7831 w 728990"/>
                    <a:gd name="connsiteY3" fmla="*/ 284363 h 1537324"/>
                    <a:gd name="connsiteX4" fmla="*/ 207032 w 728990"/>
                    <a:gd name="connsiteY4" fmla="*/ 397913 h 1537324"/>
                    <a:gd name="connsiteX5" fmla="*/ 448325 w 728990"/>
                    <a:gd name="connsiteY5" fmla="*/ 537892 h 1537324"/>
                    <a:gd name="connsiteX6" fmla="*/ 500695 w 728990"/>
                    <a:gd name="connsiteY6" fmla="*/ 551107 h 1537324"/>
                    <a:gd name="connsiteX7" fmla="*/ 649484 w 728990"/>
                    <a:gd name="connsiteY7" fmla="*/ 465455 h 1537324"/>
                    <a:gd name="connsiteX8" fmla="*/ 728773 w 728990"/>
                    <a:gd name="connsiteY8" fmla="*/ 422874 h 1537324"/>
                    <a:gd name="connsiteX9" fmla="*/ 728773 w 728990"/>
                    <a:gd name="connsiteY9" fmla="*/ 1537324 h 1537324"/>
                    <a:gd name="connsiteX10" fmla="*/ 3426 w 728990"/>
                    <a:gd name="connsiteY10" fmla="*/ 1120323 h 1537324"/>
                    <a:gd name="connsiteX11" fmla="*/ 2447 w 728990"/>
                    <a:gd name="connsiteY11" fmla="*/ 1380215 h 1537324"/>
                    <a:gd name="connsiteX12" fmla="*/ 9299 w 728990"/>
                    <a:gd name="connsiteY12" fmla="*/ 1401750 h 1537324"/>
                    <a:gd name="connsiteX13" fmla="*/ 0 w 728990"/>
                    <a:gd name="connsiteY13" fmla="*/ 1401260 h 1537324"/>
                    <a:gd name="connsiteX14" fmla="*/ 2447 w 728990"/>
                    <a:gd name="connsiteY14" fmla="*/ 1246598 h 1537324"/>
                    <a:gd name="connsiteX15" fmla="*/ 2937 w 728990"/>
                    <a:gd name="connsiteY15" fmla="*/ 1120323 h 1537324"/>
                    <a:gd name="connsiteX16" fmla="*/ 2937 w 728990"/>
                    <a:gd name="connsiteY16" fmla="*/ 277511 h 1537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8990" h="1537324">
                      <a:moveTo>
                        <a:pt x="2937" y="277511"/>
                      </a:moveTo>
                      <a:cubicBezTo>
                        <a:pt x="4894" y="185007"/>
                        <a:pt x="489" y="92504"/>
                        <a:pt x="5384" y="0"/>
                      </a:cubicBezTo>
                      <a:lnTo>
                        <a:pt x="5384" y="4405"/>
                      </a:lnTo>
                      <a:cubicBezTo>
                        <a:pt x="8810" y="97888"/>
                        <a:pt x="4405" y="190881"/>
                        <a:pt x="7831" y="284363"/>
                      </a:cubicBezTo>
                      <a:cubicBezTo>
                        <a:pt x="75374" y="320092"/>
                        <a:pt x="140469" y="360715"/>
                        <a:pt x="207032" y="397913"/>
                      </a:cubicBezTo>
                      <a:cubicBezTo>
                        <a:pt x="287300" y="444899"/>
                        <a:pt x="368547" y="490906"/>
                        <a:pt x="448325" y="537892"/>
                      </a:cubicBezTo>
                      <a:cubicBezTo>
                        <a:pt x="463987" y="546213"/>
                        <a:pt x="482096" y="563343"/>
                        <a:pt x="500695" y="551107"/>
                      </a:cubicBezTo>
                      <a:cubicBezTo>
                        <a:pt x="550618" y="522720"/>
                        <a:pt x="600051" y="494332"/>
                        <a:pt x="649484" y="465455"/>
                      </a:cubicBezTo>
                      <a:cubicBezTo>
                        <a:pt x="675424" y="450283"/>
                        <a:pt x="700875" y="434621"/>
                        <a:pt x="728773" y="422874"/>
                      </a:cubicBezTo>
                      <a:cubicBezTo>
                        <a:pt x="729262" y="794357"/>
                        <a:pt x="728773" y="1165841"/>
                        <a:pt x="728773" y="1537324"/>
                      </a:cubicBezTo>
                      <a:cubicBezTo>
                        <a:pt x="486012" y="1399792"/>
                        <a:pt x="246187" y="1257855"/>
                        <a:pt x="3426" y="1120323"/>
                      </a:cubicBezTo>
                      <a:cubicBezTo>
                        <a:pt x="1958" y="1206954"/>
                        <a:pt x="3915" y="1293584"/>
                        <a:pt x="2447" y="1380215"/>
                      </a:cubicBezTo>
                      <a:cubicBezTo>
                        <a:pt x="2447" y="1388046"/>
                        <a:pt x="1468" y="1397345"/>
                        <a:pt x="9299" y="1401750"/>
                      </a:cubicBezTo>
                      <a:cubicBezTo>
                        <a:pt x="6852" y="1401750"/>
                        <a:pt x="1958" y="1401260"/>
                        <a:pt x="0" y="1401260"/>
                      </a:cubicBezTo>
                      <a:cubicBezTo>
                        <a:pt x="5384" y="1349869"/>
                        <a:pt x="1468" y="1297989"/>
                        <a:pt x="2447" y="1246598"/>
                      </a:cubicBezTo>
                      <a:cubicBezTo>
                        <a:pt x="2447" y="1204506"/>
                        <a:pt x="1958" y="1162415"/>
                        <a:pt x="2937" y="1120323"/>
                      </a:cubicBezTo>
                      <a:cubicBezTo>
                        <a:pt x="3426" y="839386"/>
                        <a:pt x="2937" y="558449"/>
                        <a:pt x="2937" y="277511"/>
                      </a:cubicBezTo>
                      <a:close/>
                    </a:path>
                  </a:pathLst>
                </a:custGeom>
                <a:solidFill>
                  <a:schemeClr val="bg1">
                    <a:lumMod val="75000"/>
                  </a:schemeClr>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6" name="Graphic 2">
                  <a:extLst>
                    <a:ext uri="{FF2B5EF4-FFF2-40B4-BE49-F238E27FC236}">
                      <a16:creationId xmlns:a16="http://schemas.microsoft.com/office/drawing/2014/main" id="{5AB8A502-F380-4DC8-9184-143BAE10F2EF}"/>
                    </a:ext>
                  </a:extLst>
                </p:cNvPr>
                <p:cNvSpPr/>
                <p:nvPr/>
              </p:nvSpPr>
              <p:spPr>
                <a:xfrm>
                  <a:off x="8999291" y="3866769"/>
                  <a:ext cx="48202" cy="36734"/>
                </a:xfrm>
                <a:custGeom>
                  <a:avLst/>
                  <a:gdLst>
                    <a:gd name="connsiteX0" fmla="*/ 0 w 724001"/>
                    <a:gd name="connsiteY0" fmla="*/ 0 h 551742"/>
                    <a:gd name="connsiteX1" fmla="*/ 238846 w 724001"/>
                    <a:gd name="connsiteY1" fmla="*/ 136064 h 551742"/>
                    <a:gd name="connsiteX2" fmla="*/ 478671 w 724001"/>
                    <a:gd name="connsiteY2" fmla="*/ 273106 h 551742"/>
                    <a:gd name="connsiteX3" fmla="*/ 482096 w 724001"/>
                    <a:gd name="connsiteY3" fmla="*/ 275064 h 551742"/>
                    <a:gd name="connsiteX4" fmla="*/ 721432 w 724001"/>
                    <a:gd name="connsiteY4" fmla="*/ 138022 h 551742"/>
                    <a:gd name="connsiteX5" fmla="*/ 723879 w 724001"/>
                    <a:gd name="connsiteY5" fmla="*/ 273596 h 551742"/>
                    <a:gd name="connsiteX6" fmla="*/ 723389 w 724001"/>
                    <a:gd name="connsiteY6" fmla="*/ 419448 h 551742"/>
                    <a:gd name="connsiteX7" fmla="*/ 644100 w 724001"/>
                    <a:gd name="connsiteY7" fmla="*/ 462029 h 551742"/>
                    <a:gd name="connsiteX8" fmla="*/ 495311 w 724001"/>
                    <a:gd name="connsiteY8" fmla="*/ 547681 h 551742"/>
                    <a:gd name="connsiteX9" fmla="*/ 442941 w 724001"/>
                    <a:gd name="connsiteY9" fmla="*/ 534466 h 551742"/>
                    <a:gd name="connsiteX10" fmla="*/ 201648 w 724001"/>
                    <a:gd name="connsiteY10" fmla="*/ 394487 h 551742"/>
                    <a:gd name="connsiteX11" fmla="*/ 2447 w 724001"/>
                    <a:gd name="connsiteY11" fmla="*/ 280937 h 551742"/>
                    <a:gd name="connsiteX12" fmla="*/ 0 w 724001"/>
                    <a:gd name="connsiteY12" fmla="*/ 0 h 55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4001" h="551742">
                      <a:moveTo>
                        <a:pt x="0" y="0"/>
                      </a:moveTo>
                      <a:cubicBezTo>
                        <a:pt x="80757" y="43070"/>
                        <a:pt x="158578" y="92014"/>
                        <a:pt x="238846" y="136064"/>
                      </a:cubicBezTo>
                      <a:cubicBezTo>
                        <a:pt x="319114" y="181092"/>
                        <a:pt x="397913" y="229057"/>
                        <a:pt x="478671" y="273106"/>
                      </a:cubicBezTo>
                      <a:lnTo>
                        <a:pt x="482096" y="275064"/>
                      </a:lnTo>
                      <a:cubicBezTo>
                        <a:pt x="562364" y="230036"/>
                        <a:pt x="641164" y="183050"/>
                        <a:pt x="721432" y="138022"/>
                      </a:cubicBezTo>
                      <a:cubicBezTo>
                        <a:pt x="725347" y="183050"/>
                        <a:pt x="722900" y="228078"/>
                        <a:pt x="723879" y="273596"/>
                      </a:cubicBezTo>
                      <a:cubicBezTo>
                        <a:pt x="723879" y="322050"/>
                        <a:pt x="724368" y="370994"/>
                        <a:pt x="723389" y="419448"/>
                      </a:cubicBezTo>
                      <a:cubicBezTo>
                        <a:pt x="695491" y="430705"/>
                        <a:pt x="670041" y="446857"/>
                        <a:pt x="644100" y="462029"/>
                      </a:cubicBezTo>
                      <a:cubicBezTo>
                        <a:pt x="594667" y="490906"/>
                        <a:pt x="545234" y="519783"/>
                        <a:pt x="495311" y="547681"/>
                      </a:cubicBezTo>
                      <a:cubicBezTo>
                        <a:pt x="477202" y="559427"/>
                        <a:pt x="458603" y="542786"/>
                        <a:pt x="442941" y="534466"/>
                      </a:cubicBezTo>
                      <a:cubicBezTo>
                        <a:pt x="362674" y="486991"/>
                        <a:pt x="281916" y="441473"/>
                        <a:pt x="201648" y="394487"/>
                      </a:cubicBezTo>
                      <a:cubicBezTo>
                        <a:pt x="135085" y="357290"/>
                        <a:pt x="69990" y="316666"/>
                        <a:pt x="2447" y="280937"/>
                      </a:cubicBezTo>
                      <a:cubicBezTo>
                        <a:pt x="-979" y="186965"/>
                        <a:pt x="3426" y="93483"/>
                        <a:pt x="0" y="0"/>
                      </a:cubicBezTo>
                      <a:close/>
                    </a:path>
                  </a:pathLst>
                </a:custGeom>
                <a:solidFill>
                  <a:schemeClr val="bg1">
                    <a:lumMod val="75000"/>
                  </a:schemeClr>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7" name="Graphic 2">
                  <a:extLst>
                    <a:ext uri="{FF2B5EF4-FFF2-40B4-BE49-F238E27FC236}">
                      <a16:creationId xmlns:a16="http://schemas.microsoft.com/office/drawing/2014/main" id="{D3C3E4B0-334B-4D74-8601-DE5255AF2E3D}"/>
                    </a:ext>
                  </a:extLst>
                </p:cNvPr>
                <p:cNvSpPr/>
                <p:nvPr/>
              </p:nvSpPr>
              <p:spPr>
                <a:xfrm>
                  <a:off x="9047635" y="3866703"/>
                  <a:ext cx="15957" cy="27470"/>
                </a:xfrm>
                <a:custGeom>
                  <a:avLst/>
                  <a:gdLst>
                    <a:gd name="connsiteX0" fmla="*/ 145555 w 239677"/>
                    <a:gd name="connsiteY0" fmla="*/ 51391 h 412596"/>
                    <a:gd name="connsiteX1" fmla="*/ 238059 w 239677"/>
                    <a:gd name="connsiteY1" fmla="*/ 0 h 412596"/>
                    <a:gd name="connsiteX2" fmla="*/ 239038 w 239677"/>
                    <a:gd name="connsiteY2" fmla="*/ 278001 h 412596"/>
                    <a:gd name="connsiteX3" fmla="*/ 1171 w 239677"/>
                    <a:gd name="connsiteY3" fmla="*/ 412596 h 412596"/>
                    <a:gd name="connsiteX4" fmla="*/ 682 w 239677"/>
                    <a:gd name="connsiteY4" fmla="*/ 135574 h 412596"/>
                    <a:gd name="connsiteX5" fmla="*/ 145555 w 239677"/>
                    <a:gd name="connsiteY5" fmla="*/ 51391 h 41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677" h="412596">
                      <a:moveTo>
                        <a:pt x="145555" y="51391"/>
                      </a:moveTo>
                      <a:cubicBezTo>
                        <a:pt x="176390" y="34261"/>
                        <a:pt x="205756" y="14683"/>
                        <a:pt x="238059" y="0"/>
                      </a:cubicBezTo>
                      <a:cubicBezTo>
                        <a:pt x="240996" y="92504"/>
                        <a:pt x="239038" y="185007"/>
                        <a:pt x="239038" y="278001"/>
                      </a:cubicBezTo>
                      <a:cubicBezTo>
                        <a:pt x="158770" y="320582"/>
                        <a:pt x="81929" y="370505"/>
                        <a:pt x="1171" y="412596"/>
                      </a:cubicBezTo>
                      <a:cubicBezTo>
                        <a:pt x="-787" y="320092"/>
                        <a:pt x="192" y="228078"/>
                        <a:pt x="682" y="135574"/>
                      </a:cubicBezTo>
                      <a:cubicBezTo>
                        <a:pt x="48647" y="106697"/>
                        <a:pt x="97591" y="79289"/>
                        <a:pt x="145555" y="51391"/>
                      </a:cubicBezTo>
                      <a:close/>
                    </a:path>
                  </a:pathLst>
                </a:custGeom>
                <a:solidFill>
                  <a:srgbClr val="BABABA"/>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8" name="Graphic 2">
                  <a:extLst>
                    <a:ext uri="{FF2B5EF4-FFF2-40B4-BE49-F238E27FC236}">
                      <a16:creationId xmlns:a16="http://schemas.microsoft.com/office/drawing/2014/main" id="{13EE7206-9932-4B3C-B621-959CA8E64B2A}"/>
                    </a:ext>
                  </a:extLst>
                </p:cNvPr>
                <p:cNvSpPr/>
                <p:nvPr/>
              </p:nvSpPr>
              <p:spPr>
                <a:xfrm>
                  <a:off x="9047322" y="3875697"/>
                  <a:ext cx="16281" cy="121024"/>
                </a:xfrm>
                <a:custGeom>
                  <a:avLst/>
                  <a:gdLst>
                    <a:gd name="connsiteX0" fmla="*/ 0 w 244539"/>
                    <a:gd name="connsiteY0" fmla="*/ 3426 h 1817772"/>
                    <a:gd name="connsiteX1" fmla="*/ 5384 w 244539"/>
                    <a:gd name="connsiteY1" fmla="*/ 0 h 1817772"/>
                    <a:gd name="connsiteX2" fmla="*/ 5873 w 244539"/>
                    <a:gd name="connsiteY2" fmla="*/ 277022 h 1817772"/>
                    <a:gd name="connsiteX3" fmla="*/ 243740 w 244539"/>
                    <a:gd name="connsiteY3" fmla="*/ 142427 h 1817772"/>
                    <a:gd name="connsiteX4" fmla="*/ 244230 w 244539"/>
                    <a:gd name="connsiteY4" fmla="*/ 1687093 h 1817772"/>
                    <a:gd name="connsiteX5" fmla="*/ 240804 w 244539"/>
                    <a:gd name="connsiteY5" fmla="*/ 1817772 h 1817772"/>
                    <a:gd name="connsiteX6" fmla="*/ 99356 w 244539"/>
                    <a:gd name="connsiteY6" fmla="*/ 1735547 h 1817772"/>
                    <a:gd name="connsiteX7" fmla="*/ 2447 w 244539"/>
                    <a:gd name="connsiteY7" fmla="*/ 1681219 h 1817772"/>
                    <a:gd name="connsiteX8" fmla="*/ 2447 w 244539"/>
                    <a:gd name="connsiteY8" fmla="*/ 1673388 h 1817772"/>
                    <a:gd name="connsiteX9" fmla="*/ 2447 w 244539"/>
                    <a:gd name="connsiteY9" fmla="*/ 1398814 h 1817772"/>
                    <a:gd name="connsiteX10" fmla="*/ 2447 w 244539"/>
                    <a:gd name="connsiteY10" fmla="*/ 284364 h 1817772"/>
                    <a:gd name="connsiteX11" fmla="*/ 2937 w 244539"/>
                    <a:gd name="connsiteY11" fmla="*/ 138511 h 1817772"/>
                    <a:gd name="connsiteX12" fmla="*/ 0 w 244539"/>
                    <a:gd name="connsiteY12" fmla="*/ 3426 h 181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539" h="1817772">
                      <a:moveTo>
                        <a:pt x="0" y="3426"/>
                      </a:moveTo>
                      <a:cubicBezTo>
                        <a:pt x="1468" y="2447"/>
                        <a:pt x="4405" y="979"/>
                        <a:pt x="5384" y="0"/>
                      </a:cubicBezTo>
                      <a:cubicBezTo>
                        <a:pt x="4894" y="92504"/>
                        <a:pt x="3915" y="184518"/>
                        <a:pt x="5873" y="277022"/>
                      </a:cubicBezTo>
                      <a:cubicBezTo>
                        <a:pt x="86631" y="234930"/>
                        <a:pt x="162983" y="185008"/>
                        <a:pt x="243740" y="142427"/>
                      </a:cubicBezTo>
                      <a:cubicBezTo>
                        <a:pt x="244719" y="657315"/>
                        <a:pt x="243740" y="1172204"/>
                        <a:pt x="244230" y="1687093"/>
                      </a:cubicBezTo>
                      <a:cubicBezTo>
                        <a:pt x="243251" y="1730652"/>
                        <a:pt x="247166" y="1774212"/>
                        <a:pt x="240804" y="1817772"/>
                      </a:cubicBezTo>
                      <a:cubicBezTo>
                        <a:pt x="193817" y="1789875"/>
                        <a:pt x="146342" y="1763445"/>
                        <a:pt x="99356" y="1735547"/>
                      </a:cubicBezTo>
                      <a:cubicBezTo>
                        <a:pt x="67053" y="1717438"/>
                        <a:pt x="35729" y="1697371"/>
                        <a:pt x="2447" y="1681219"/>
                      </a:cubicBezTo>
                      <a:cubicBezTo>
                        <a:pt x="2447" y="1679261"/>
                        <a:pt x="2447" y="1675346"/>
                        <a:pt x="2447" y="1673388"/>
                      </a:cubicBezTo>
                      <a:cubicBezTo>
                        <a:pt x="2447" y="1581864"/>
                        <a:pt x="2937" y="1490338"/>
                        <a:pt x="2447" y="1398814"/>
                      </a:cubicBezTo>
                      <a:cubicBezTo>
                        <a:pt x="2447" y="1027330"/>
                        <a:pt x="2937" y="655847"/>
                        <a:pt x="2447" y="284364"/>
                      </a:cubicBezTo>
                      <a:cubicBezTo>
                        <a:pt x="2937" y="235909"/>
                        <a:pt x="2937" y="186965"/>
                        <a:pt x="2937" y="138511"/>
                      </a:cubicBezTo>
                      <a:cubicBezTo>
                        <a:pt x="1468" y="93483"/>
                        <a:pt x="3915" y="48454"/>
                        <a:pt x="0" y="3426"/>
                      </a:cubicBezTo>
                      <a:close/>
                    </a:path>
                  </a:pathLst>
                </a:custGeom>
                <a:solidFill>
                  <a:srgbClr val="ECECEC"/>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79" name="Graphic 2">
                  <a:extLst>
                    <a:ext uri="{FF2B5EF4-FFF2-40B4-BE49-F238E27FC236}">
                      <a16:creationId xmlns:a16="http://schemas.microsoft.com/office/drawing/2014/main" id="{1E7F3334-D1C2-481F-BFA4-EDA049B45963}"/>
                    </a:ext>
                  </a:extLst>
                </p:cNvPr>
                <p:cNvSpPr/>
                <p:nvPr/>
              </p:nvSpPr>
              <p:spPr>
                <a:xfrm>
                  <a:off x="9079661" y="3875795"/>
                  <a:ext cx="80668" cy="55689"/>
                </a:xfrm>
                <a:custGeom>
                  <a:avLst/>
                  <a:gdLst>
                    <a:gd name="connsiteX0" fmla="*/ 6155 w 1211641"/>
                    <a:gd name="connsiteY0" fmla="*/ 556001 h 836449"/>
                    <a:gd name="connsiteX1" fmla="*/ 969859 w 1211641"/>
                    <a:gd name="connsiteY1" fmla="*/ 0 h 836449"/>
                    <a:gd name="connsiteX2" fmla="*/ 1211641 w 1211641"/>
                    <a:gd name="connsiteY2" fmla="*/ 139490 h 836449"/>
                    <a:gd name="connsiteX3" fmla="*/ 46779 w 1211641"/>
                    <a:gd name="connsiteY3" fmla="*/ 811978 h 836449"/>
                    <a:gd name="connsiteX4" fmla="*/ 1261 w 1211641"/>
                    <a:gd name="connsiteY4" fmla="*/ 836449 h 836449"/>
                    <a:gd name="connsiteX5" fmla="*/ 282 w 1211641"/>
                    <a:gd name="connsiteY5" fmla="*/ 614734 h 836449"/>
                    <a:gd name="connsiteX6" fmla="*/ 6155 w 1211641"/>
                    <a:gd name="connsiteY6" fmla="*/ 556001 h 83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1641" h="836449">
                      <a:moveTo>
                        <a:pt x="6155" y="556001"/>
                      </a:moveTo>
                      <a:cubicBezTo>
                        <a:pt x="327716" y="371483"/>
                        <a:pt x="648788" y="185497"/>
                        <a:pt x="969859" y="0"/>
                      </a:cubicBezTo>
                      <a:cubicBezTo>
                        <a:pt x="1050127" y="46986"/>
                        <a:pt x="1130884" y="93483"/>
                        <a:pt x="1211641" y="139490"/>
                      </a:cubicBezTo>
                      <a:cubicBezTo>
                        <a:pt x="823517" y="364142"/>
                        <a:pt x="435392" y="587815"/>
                        <a:pt x="46779" y="811978"/>
                      </a:cubicBezTo>
                      <a:cubicBezTo>
                        <a:pt x="32095" y="820787"/>
                        <a:pt x="16923" y="829108"/>
                        <a:pt x="1261" y="836449"/>
                      </a:cubicBezTo>
                      <a:cubicBezTo>
                        <a:pt x="-1186" y="762544"/>
                        <a:pt x="772" y="688639"/>
                        <a:pt x="282" y="614734"/>
                      </a:cubicBezTo>
                      <a:cubicBezTo>
                        <a:pt x="2729" y="595646"/>
                        <a:pt x="-4612" y="573132"/>
                        <a:pt x="6155" y="556001"/>
                      </a:cubicBezTo>
                      <a:close/>
                    </a:path>
                  </a:pathLst>
                </a:custGeom>
                <a:solidFill>
                  <a:srgbClr val="6D6D6D"/>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0" name="Graphic 2">
                  <a:extLst>
                    <a:ext uri="{FF2B5EF4-FFF2-40B4-BE49-F238E27FC236}">
                      <a16:creationId xmlns:a16="http://schemas.microsoft.com/office/drawing/2014/main" id="{1094227D-28BA-4AD5-ADE0-BF67F821B7E8}"/>
                    </a:ext>
                  </a:extLst>
                </p:cNvPr>
                <p:cNvSpPr/>
                <p:nvPr/>
              </p:nvSpPr>
              <p:spPr>
                <a:xfrm>
                  <a:off x="8870151" y="3885212"/>
                  <a:ext cx="113075" cy="83615"/>
                </a:xfrm>
                <a:custGeom>
                  <a:avLst/>
                  <a:gdLst>
                    <a:gd name="connsiteX0" fmla="*/ 1018 w 1698388"/>
                    <a:gd name="connsiteY0" fmla="*/ 0 h 1255897"/>
                    <a:gd name="connsiteX1" fmla="*/ 637287 w 1698388"/>
                    <a:gd name="connsiteY1" fmla="*/ 366589 h 1255897"/>
                    <a:gd name="connsiteX2" fmla="*/ 1606864 w 1698388"/>
                    <a:gd name="connsiteY2" fmla="*/ 926506 h 1255897"/>
                    <a:gd name="connsiteX3" fmla="*/ 1693494 w 1698388"/>
                    <a:gd name="connsiteY3" fmla="*/ 974471 h 1255897"/>
                    <a:gd name="connsiteX4" fmla="*/ 1694473 w 1698388"/>
                    <a:gd name="connsiteY4" fmla="*/ 979855 h 1255897"/>
                    <a:gd name="connsiteX5" fmla="*/ 1697899 w 1698388"/>
                    <a:gd name="connsiteY5" fmla="*/ 1075784 h 1255897"/>
                    <a:gd name="connsiteX6" fmla="*/ 1696920 w 1698388"/>
                    <a:gd name="connsiteY6" fmla="*/ 1255898 h 1255897"/>
                    <a:gd name="connsiteX7" fmla="*/ 1673917 w 1698388"/>
                    <a:gd name="connsiteY7" fmla="*/ 1245620 h 1255897"/>
                    <a:gd name="connsiteX8" fmla="*/ 447875 w 1698388"/>
                    <a:gd name="connsiteY8" fmla="*/ 537403 h 1255897"/>
                    <a:gd name="connsiteX9" fmla="*/ 529 w 1698388"/>
                    <a:gd name="connsiteY9" fmla="*/ 279959 h 1255897"/>
                    <a:gd name="connsiteX10" fmla="*/ 1018 w 1698388"/>
                    <a:gd name="connsiteY10" fmla="*/ 0 h 125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98388" h="1255897">
                      <a:moveTo>
                        <a:pt x="1018" y="0"/>
                      </a:moveTo>
                      <a:cubicBezTo>
                        <a:pt x="213434" y="121381"/>
                        <a:pt x="424871" y="244719"/>
                        <a:pt x="637287" y="366589"/>
                      </a:cubicBezTo>
                      <a:cubicBezTo>
                        <a:pt x="960316" y="553065"/>
                        <a:pt x="1283835" y="740030"/>
                        <a:pt x="1606864" y="926506"/>
                      </a:cubicBezTo>
                      <a:cubicBezTo>
                        <a:pt x="1635741" y="942658"/>
                        <a:pt x="1663149" y="960766"/>
                        <a:pt x="1693494" y="974471"/>
                      </a:cubicBezTo>
                      <a:cubicBezTo>
                        <a:pt x="1693494" y="975939"/>
                        <a:pt x="1694473" y="978386"/>
                        <a:pt x="1694473" y="979855"/>
                      </a:cubicBezTo>
                      <a:cubicBezTo>
                        <a:pt x="1700836" y="1011179"/>
                        <a:pt x="1697410" y="1043482"/>
                        <a:pt x="1697899" y="1075784"/>
                      </a:cubicBezTo>
                      <a:cubicBezTo>
                        <a:pt x="1697410" y="1135985"/>
                        <a:pt x="1698878" y="1196186"/>
                        <a:pt x="1696920" y="1255898"/>
                      </a:cubicBezTo>
                      <a:cubicBezTo>
                        <a:pt x="1689089" y="1252961"/>
                        <a:pt x="1681258" y="1249535"/>
                        <a:pt x="1673917" y="1245620"/>
                      </a:cubicBezTo>
                      <a:cubicBezTo>
                        <a:pt x="1265236" y="1009221"/>
                        <a:pt x="856555" y="773312"/>
                        <a:pt x="447875" y="537403"/>
                      </a:cubicBezTo>
                      <a:cubicBezTo>
                        <a:pt x="298596" y="451751"/>
                        <a:pt x="150297" y="364142"/>
                        <a:pt x="529" y="279959"/>
                      </a:cubicBezTo>
                      <a:cubicBezTo>
                        <a:pt x="529" y="186965"/>
                        <a:pt x="-940" y="93483"/>
                        <a:pt x="1018" y="0"/>
                      </a:cubicBezTo>
                      <a:close/>
                    </a:path>
                  </a:pathLst>
                </a:custGeom>
                <a:solidFill>
                  <a:srgbClr val="6D6D6D"/>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1" name="Graphic 2">
                  <a:extLst>
                    <a:ext uri="{FF2B5EF4-FFF2-40B4-BE49-F238E27FC236}">
                      <a16:creationId xmlns:a16="http://schemas.microsoft.com/office/drawing/2014/main" id="{92E95AA6-AE5F-498D-BD2D-8275FE0F9BCD}"/>
                    </a:ext>
                  </a:extLst>
                </p:cNvPr>
                <p:cNvSpPr/>
                <p:nvPr/>
              </p:nvSpPr>
              <p:spPr>
                <a:xfrm>
                  <a:off x="9063568" y="3885180"/>
                  <a:ext cx="193533" cy="130213"/>
                </a:xfrm>
                <a:custGeom>
                  <a:avLst/>
                  <a:gdLst>
                    <a:gd name="connsiteX0" fmla="*/ 2705341 w 2906866"/>
                    <a:gd name="connsiteY0" fmla="*/ 115018 h 1955793"/>
                    <a:gd name="connsiteX1" fmla="*/ 2906499 w 2906866"/>
                    <a:gd name="connsiteY1" fmla="*/ 0 h 1955793"/>
                    <a:gd name="connsiteX2" fmla="*/ 2906499 w 2906866"/>
                    <a:gd name="connsiteY2" fmla="*/ 278979 h 1955793"/>
                    <a:gd name="connsiteX3" fmla="*/ 409877 w 2906866"/>
                    <a:gd name="connsiteY3" fmla="*/ 1719884 h 1955793"/>
                    <a:gd name="connsiteX4" fmla="*/ 218 w 2906866"/>
                    <a:gd name="connsiteY4" fmla="*/ 1955794 h 1955793"/>
                    <a:gd name="connsiteX5" fmla="*/ 218 w 2906866"/>
                    <a:gd name="connsiteY5" fmla="*/ 1677304 h 1955793"/>
                    <a:gd name="connsiteX6" fmla="*/ 709903 w 2906866"/>
                    <a:gd name="connsiteY6" fmla="*/ 1266665 h 1955793"/>
                    <a:gd name="connsiteX7" fmla="*/ 2705341 w 2906866"/>
                    <a:gd name="connsiteY7" fmla="*/ 115018 h 195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6866" h="1955793">
                      <a:moveTo>
                        <a:pt x="2705341" y="115018"/>
                      </a:moveTo>
                      <a:cubicBezTo>
                        <a:pt x="2772394" y="76842"/>
                        <a:pt x="2838468" y="36708"/>
                        <a:pt x="2906499" y="0"/>
                      </a:cubicBezTo>
                      <a:cubicBezTo>
                        <a:pt x="2906989" y="92993"/>
                        <a:pt x="2906989" y="185986"/>
                        <a:pt x="2906499" y="278979"/>
                      </a:cubicBezTo>
                      <a:cubicBezTo>
                        <a:pt x="2073966" y="758628"/>
                        <a:pt x="1242411" y="1239746"/>
                        <a:pt x="409877" y="1719884"/>
                      </a:cubicBezTo>
                      <a:cubicBezTo>
                        <a:pt x="273324" y="1798195"/>
                        <a:pt x="137260" y="1878462"/>
                        <a:pt x="218" y="1955794"/>
                      </a:cubicBezTo>
                      <a:cubicBezTo>
                        <a:pt x="218" y="1862801"/>
                        <a:pt x="-272" y="1770297"/>
                        <a:pt x="218" y="1677304"/>
                      </a:cubicBezTo>
                      <a:cubicBezTo>
                        <a:pt x="236126" y="1539282"/>
                        <a:pt x="473504" y="1403708"/>
                        <a:pt x="709903" y="1266665"/>
                      </a:cubicBezTo>
                      <a:cubicBezTo>
                        <a:pt x="1375538" y="882946"/>
                        <a:pt x="2040194" y="499226"/>
                        <a:pt x="2705341" y="115018"/>
                      </a:cubicBezTo>
                      <a:close/>
                    </a:path>
                  </a:pathLst>
                </a:custGeom>
                <a:solidFill>
                  <a:srgbClr val="6D6D6D"/>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2" name="Graphic 2">
                  <a:extLst>
                    <a:ext uri="{FF2B5EF4-FFF2-40B4-BE49-F238E27FC236}">
                      <a16:creationId xmlns:a16="http://schemas.microsoft.com/office/drawing/2014/main" id="{BF7A7726-B2F3-4E9A-A7AC-8BB4057040EB}"/>
                    </a:ext>
                  </a:extLst>
                </p:cNvPr>
                <p:cNvSpPr/>
                <p:nvPr/>
              </p:nvSpPr>
              <p:spPr>
                <a:xfrm>
                  <a:off x="8773341" y="3903558"/>
                  <a:ext cx="290827" cy="186456"/>
                </a:xfrm>
                <a:custGeom>
                  <a:avLst/>
                  <a:gdLst>
                    <a:gd name="connsiteX0" fmla="*/ 489 w 4368233"/>
                    <a:gd name="connsiteY0" fmla="*/ 0 h 2800563"/>
                    <a:gd name="connsiteX1" fmla="*/ 2937 w 4368233"/>
                    <a:gd name="connsiteY1" fmla="*/ 1469 h 2800563"/>
                    <a:gd name="connsiteX2" fmla="*/ 232972 w 4368233"/>
                    <a:gd name="connsiteY2" fmla="*/ 133617 h 2800563"/>
                    <a:gd name="connsiteX3" fmla="*/ 4287476 w 4368233"/>
                    <a:gd name="connsiteY3" fmla="*/ 2474598 h 2800563"/>
                    <a:gd name="connsiteX4" fmla="*/ 4368233 w 4368233"/>
                    <a:gd name="connsiteY4" fmla="*/ 2515711 h 2800563"/>
                    <a:gd name="connsiteX5" fmla="*/ 4358445 w 4368233"/>
                    <a:gd name="connsiteY5" fmla="*/ 2554866 h 2800563"/>
                    <a:gd name="connsiteX6" fmla="*/ 4358934 w 4368233"/>
                    <a:gd name="connsiteY6" fmla="*/ 2692888 h 2800563"/>
                    <a:gd name="connsiteX7" fmla="*/ 4361381 w 4368233"/>
                    <a:gd name="connsiteY7" fmla="*/ 2797137 h 2800563"/>
                    <a:gd name="connsiteX8" fmla="*/ 4361871 w 4368233"/>
                    <a:gd name="connsiteY8" fmla="*/ 2800564 h 2800563"/>
                    <a:gd name="connsiteX9" fmla="*/ 551597 w 4368233"/>
                    <a:gd name="connsiteY9" fmla="*/ 601030 h 2800563"/>
                    <a:gd name="connsiteX10" fmla="*/ 0 w 4368233"/>
                    <a:gd name="connsiteY10" fmla="*/ 283385 h 2800563"/>
                    <a:gd name="connsiteX11" fmla="*/ 489 w 4368233"/>
                    <a:gd name="connsiteY11" fmla="*/ 0 h 28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68233" h="2800563">
                      <a:moveTo>
                        <a:pt x="489" y="0"/>
                      </a:moveTo>
                      <a:lnTo>
                        <a:pt x="2937" y="1469"/>
                      </a:lnTo>
                      <a:cubicBezTo>
                        <a:pt x="80268" y="44539"/>
                        <a:pt x="156131" y="89567"/>
                        <a:pt x="232972" y="133617"/>
                      </a:cubicBezTo>
                      <a:cubicBezTo>
                        <a:pt x="1584310" y="913781"/>
                        <a:pt x="2936138" y="1693944"/>
                        <a:pt x="4287476" y="2474598"/>
                      </a:cubicBezTo>
                      <a:cubicBezTo>
                        <a:pt x="4313416" y="2490260"/>
                        <a:pt x="4338867" y="2506901"/>
                        <a:pt x="4368233" y="2515711"/>
                      </a:cubicBezTo>
                      <a:cubicBezTo>
                        <a:pt x="4356976" y="2525499"/>
                        <a:pt x="4358934" y="2541162"/>
                        <a:pt x="4358445" y="2554866"/>
                      </a:cubicBezTo>
                      <a:cubicBezTo>
                        <a:pt x="4359424" y="2600873"/>
                        <a:pt x="4358934" y="2646880"/>
                        <a:pt x="4358934" y="2692888"/>
                      </a:cubicBezTo>
                      <a:cubicBezTo>
                        <a:pt x="4358934" y="2727638"/>
                        <a:pt x="4356976" y="2762387"/>
                        <a:pt x="4361381" y="2797137"/>
                      </a:cubicBezTo>
                      <a:lnTo>
                        <a:pt x="4361871" y="2800564"/>
                      </a:lnTo>
                      <a:cubicBezTo>
                        <a:pt x="3091779" y="2067386"/>
                        <a:pt x="1821688" y="1334208"/>
                        <a:pt x="551597" y="601030"/>
                      </a:cubicBezTo>
                      <a:cubicBezTo>
                        <a:pt x="367568" y="495311"/>
                        <a:pt x="184518" y="388124"/>
                        <a:pt x="0" y="283385"/>
                      </a:cubicBezTo>
                      <a:cubicBezTo>
                        <a:pt x="0" y="188923"/>
                        <a:pt x="0" y="94462"/>
                        <a:pt x="489" y="0"/>
                      </a:cubicBezTo>
                      <a:close/>
                    </a:path>
                  </a:pathLst>
                </a:custGeom>
                <a:solidFill>
                  <a:schemeClr val="tx1">
                    <a:lumMod val="75000"/>
                    <a:lumOff val="25000"/>
                  </a:schemeClr>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3" name="Graphic 2">
                  <a:extLst>
                    <a:ext uri="{FF2B5EF4-FFF2-40B4-BE49-F238E27FC236}">
                      <a16:creationId xmlns:a16="http://schemas.microsoft.com/office/drawing/2014/main" id="{B429A2D3-0F90-4411-995C-696DCAAA3127}"/>
                    </a:ext>
                  </a:extLst>
                </p:cNvPr>
                <p:cNvSpPr/>
                <p:nvPr/>
              </p:nvSpPr>
              <p:spPr>
                <a:xfrm>
                  <a:off x="9063513" y="3903558"/>
                  <a:ext cx="290283" cy="185935"/>
                </a:xfrm>
                <a:custGeom>
                  <a:avLst/>
                  <a:gdLst>
                    <a:gd name="connsiteX0" fmla="*/ 4349208 w 4360051"/>
                    <a:gd name="connsiteY0" fmla="*/ 6363 h 2792732"/>
                    <a:gd name="connsiteX1" fmla="*/ 4359486 w 4360051"/>
                    <a:gd name="connsiteY1" fmla="*/ 0 h 2792732"/>
                    <a:gd name="connsiteX2" fmla="*/ 4359486 w 4360051"/>
                    <a:gd name="connsiteY2" fmla="*/ 277022 h 2792732"/>
                    <a:gd name="connsiteX3" fmla="*/ 4212655 w 4360051"/>
                    <a:gd name="connsiteY3" fmla="*/ 363163 h 2792732"/>
                    <a:gd name="connsiteX4" fmla="*/ 580536 w 4360051"/>
                    <a:gd name="connsiteY4" fmla="*/ 2459915 h 2792732"/>
                    <a:gd name="connsiteX5" fmla="*/ 2999 w 4360051"/>
                    <a:gd name="connsiteY5" fmla="*/ 2792732 h 2792732"/>
                    <a:gd name="connsiteX6" fmla="*/ 552 w 4360051"/>
                    <a:gd name="connsiteY6" fmla="*/ 2688482 h 2792732"/>
                    <a:gd name="connsiteX7" fmla="*/ 63 w 4360051"/>
                    <a:gd name="connsiteY7" fmla="*/ 2550461 h 2792732"/>
                    <a:gd name="connsiteX8" fmla="*/ 9852 w 4360051"/>
                    <a:gd name="connsiteY8" fmla="*/ 2511306 h 2792732"/>
                    <a:gd name="connsiteX9" fmla="*/ 41175 w 4360051"/>
                    <a:gd name="connsiteY9" fmla="*/ 2495155 h 2792732"/>
                    <a:gd name="connsiteX10" fmla="*/ 4255725 w 4360051"/>
                    <a:gd name="connsiteY10" fmla="*/ 61669 h 2792732"/>
                    <a:gd name="connsiteX11" fmla="*/ 4349208 w 4360051"/>
                    <a:gd name="connsiteY11" fmla="*/ 6363 h 279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60051" h="2792732">
                      <a:moveTo>
                        <a:pt x="4349208" y="6363"/>
                      </a:moveTo>
                      <a:cubicBezTo>
                        <a:pt x="4351655" y="4894"/>
                        <a:pt x="4357039" y="1469"/>
                        <a:pt x="4359486" y="0"/>
                      </a:cubicBezTo>
                      <a:cubicBezTo>
                        <a:pt x="4360465" y="92504"/>
                        <a:pt x="4359976" y="184518"/>
                        <a:pt x="4359486" y="277022"/>
                      </a:cubicBezTo>
                      <a:cubicBezTo>
                        <a:pt x="4312011" y="307857"/>
                        <a:pt x="4261599" y="333796"/>
                        <a:pt x="4212655" y="363163"/>
                      </a:cubicBezTo>
                      <a:cubicBezTo>
                        <a:pt x="3001785" y="1062080"/>
                        <a:pt x="1791405" y="1760998"/>
                        <a:pt x="580536" y="2459915"/>
                      </a:cubicBezTo>
                      <a:cubicBezTo>
                        <a:pt x="387698" y="2570527"/>
                        <a:pt x="195838" y="2682609"/>
                        <a:pt x="2999" y="2792732"/>
                      </a:cubicBezTo>
                      <a:cubicBezTo>
                        <a:pt x="-1405" y="2757982"/>
                        <a:pt x="552" y="2723232"/>
                        <a:pt x="552" y="2688482"/>
                      </a:cubicBezTo>
                      <a:cubicBezTo>
                        <a:pt x="552" y="2642475"/>
                        <a:pt x="1042" y="2596468"/>
                        <a:pt x="63" y="2550461"/>
                      </a:cubicBezTo>
                      <a:cubicBezTo>
                        <a:pt x="63" y="2536757"/>
                        <a:pt x="-1405" y="2521094"/>
                        <a:pt x="9852" y="2511306"/>
                      </a:cubicBezTo>
                      <a:cubicBezTo>
                        <a:pt x="20130" y="2505922"/>
                        <a:pt x="30897" y="2501028"/>
                        <a:pt x="41175" y="2495155"/>
                      </a:cubicBezTo>
                      <a:cubicBezTo>
                        <a:pt x="1445862" y="1684156"/>
                        <a:pt x="2851038" y="873157"/>
                        <a:pt x="4255725" y="61669"/>
                      </a:cubicBezTo>
                      <a:cubicBezTo>
                        <a:pt x="4287539" y="44049"/>
                        <a:pt x="4319352" y="26919"/>
                        <a:pt x="4349208" y="6363"/>
                      </a:cubicBezTo>
                      <a:close/>
                    </a:path>
                  </a:pathLst>
                </a:custGeom>
                <a:solidFill>
                  <a:schemeClr val="tx1">
                    <a:lumMod val="75000"/>
                    <a:lumOff val="25000"/>
                  </a:schemeClr>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4" name="Graphic 2">
                  <a:extLst>
                    <a:ext uri="{FF2B5EF4-FFF2-40B4-BE49-F238E27FC236}">
                      <a16:creationId xmlns:a16="http://schemas.microsoft.com/office/drawing/2014/main" id="{4A72E8B1-F17B-4F81-BB97-29F063D65EB5}"/>
                    </a:ext>
                  </a:extLst>
                </p:cNvPr>
                <p:cNvSpPr/>
                <p:nvPr/>
              </p:nvSpPr>
              <p:spPr>
                <a:xfrm>
                  <a:off x="8982966" y="3941064"/>
                  <a:ext cx="16162" cy="27731"/>
                </a:xfrm>
                <a:custGeom>
                  <a:avLst/>
                  <a:gdLst>
                    <a:gd name="connsiteX0" fmla="*/ 102782 w 242761"/>
                    <a:gd name="connsiteY0" fmla="*/ 79289 h 416512"/>
                    <a:gd name="connsiteX1" fmla="*/ 242761 w 242761"/>
                    <a:gd name="connsiteY1" fmla="*/ 0 h 416512"/>
                    <a:gd name="connsiteX2" fmla="*/ 242272 w 242761"/>
                    <a:gd name="connsiteY2" fmla="*/ 126275 h 416512"/>
                    <a:gd name="connsiteX3" fmla="*/ 239825 w 242761"/>
                    <a:gd name="connsiteY3" fmla="*/ 280937 h 416512"/>
                    <a:gd name="connsiteX4" fmla="*/ 2447 w 242761"/>
                    <a:gd name="connsiteY4" fmla="*/ 416512 h 416512"/>
                    <a:gd name="connsiteX5" fmla="*/ 3426 w 242761"/>
                    <a:gd name="connsiteY5" fmla="*/ 236399 h 416512"/>
                    <a:gd name="connsiteX6" fmla="*/ 0 w 242761"/>
                    <a:gd name="connsiteY6" fmla="*/ 140469 h 416512"/>
                    <a:gd name="connsiteX7" fmla="*/ 102782 w 242761"/>
                    <a:gd name="connsiteY7" fmla="*/ 79289 h 41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761" h="416512">
                      <a:moveTo>
                        <a:pt x="102782" y="79289"/>
                      </a:moveTo>
                      <a:cubicBezTo>
                        <a:pt x="149768" y="53349"/>
                        <a:pt x="194796" y="24472"/>
                        <a:pt x="242761" y="0"/>
                      </a:cubicBezTo>
                      <a:cubicBezTo>
                        <a:pt x="242272" y="42092"/>
                        <a:pt x="242761" y="84184"/>
                        <a:pt x="242272" y="126275"/>
                      </a:cubicBezTo>
                      <a:cubicBezTo>
                        <a:pt x="241293" y="177666"/>
                        <a:pt x="245208" y="229546"/>
                        <a:pt x="239825" y="280937"/>
                      </a:cubicBezTo>
                      <a:cubicBezTo>
                        <a:pt x="159557" y="324008"/>
                        <a:pt x="81736" y="371973"/>
                        <a:pt x="2447" y="416512"/>
                      </a:cubicBezTo>
                      <a:cubicBezTo>
                        <a:pt x="4405" y="356311"/>
                        <a:pt x="2937" y="296110"/>
                        <a:pt x="3426" y="236399"/>
                      </a:cubicBezTo>
                      <a:cubicBezTo>
                        <a:pt x="2937" y="204585"/>
                        <a:pt x="6363" y="172282"/>
                        <a:pt x="0" y="140469"/>
                      </a:cubicBezTo>
                      <a:cubicBezTo>
                        <a:pt x="32303" y="117465"/>
                        <a:pt x="68521" y="99845"/>
                        <a:pt x="102782" y="79289"/>
                      </a:cubicBezTo>
                      <a:close/>
                    </a:path>
                  </a:pathLst>
                </a:custGeom>
                <a:solidFill>
                  <a:srgbClr val="BABABA"/>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5" name="Graphic 2">
                  <a:extLst>
                    <a:ext uri="{FF2B5EF4-FFF2-40B4-BE49-F238E27FC236}">
                      <a16:creationId xmlns:a16="http://schemas.microsoft.com/office/drawing/2014/main" id="{2187E4EF-FD52-4036-9761-A493ACAEC2DF}"/>
                    </a:ext>
                  </a:extLst>
                </p:cNvPr>
                <p:cNvSpPr/>
                <p:nvPr/>
              </p:nvSpPr>
              <p:spPr>
                <a:xfrm>
                  <a:off x="8999092" y="3941064"/>
                  <a:ext cx="48374" cy="46044"/>
                </a:xfrm>
                <a:custGeom>
                  <a:avLst/>
                  <a:gdLst>
                    <a:gd name="connsiteX0" fmla="*/ 1018 w 726582"/>
                    <a:gd name="connsiteY0" fmla="*/ 0 h 691575"/>
                    <a:gd name="connsiteX1" fmla="*/ 726365 w 726582"/>
                    <a:gd name="connsiteY1" fmla="*/ 417001 h 691575"/>
                    <a:gd name="connsiteX2" fmla="*/ 726365 w 726582"/>
                    <a:gd name="connsiteY2" fmla="*/ 691576 h 691575"/>
                    <a:gd name="connsiteX3" fmla="*/ 586875 w 726582"/>
                    <a:gd name="connsiteY3" fmla="*/ 613266 h 691575"/>
                    <a:gd name="connsiteX4" fmla="*/ 91564 w 726582"/>
                    <a:gd name="connsiteY4" fmla="*/ 327434 h 691575"/>
                    <a:gd name="connsiteX5" fmla="*/ 6891 w 726582"/>
                    <a:gd name="connsiteY5" fmla="*/ 281427 h 691575"/>
                    <a:gd name="connsiteX6" fmla="*/ 39 w 726582"/>
                    <a:gd name="connsiteY6" fmla="*/ 259892 h 691575"/>
                    <a:gd name="connsiteX7" fmla="*/ 1018 w 726582"/>
                    <a:gd name="connsiteY7" fmla="*/ 0 h 6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6582" h="691575">
                      <a:moveTo>
                        <a:pt x="1018" y="0"/>
                      </a:moveTo>
                      <a:cubicBezTo>
                        <a:pt x="243779" y="137533"/>
                        <a:pt x="483604" y="279470"/>
                        <a:pt x="726365" y="417001"/>
                      </a:cubicBezTo>
                      <a:cubicBezTo>
                        <a:pt x="726854" y="508526"/>
                        <a:pt x="726365" y="600051"/>
                        <a:pt x="726365" y="691576"/>
                      </a:cubicBezTo>
                      <a:cubicBezTo>
                        <a:pt x="677911" y="668573"/>
                        <a:pt x="633372" y="638716"/>
                        <a:pt x="586875" y="613266"/>
                      </a:cubicBezTo>
                      <a:cubicBezTo>
                        <a:pt x="421445" y="518315"/>
                        <a:pt x="256994" y="422385"/>
                        <a:pt x="91564" y="327434"/>
                      </a:cubicBezTo>
                      <a:cubicBezTo>
                        <a:pt x="63666" y="311772"/>
                        <a:pt x="36747" y="293663"/>
                        <a:pt x="6891" y="281427"/>
                      </a:cubicBezTo>
                      <a:cubicBezTo>
                        <a:pt x="-940" y="277022"/>
                        <a:pt x="39" y="267234"/>
                        <a:pt x="39" y="259892"/>
                      </a:cubicBezTo>
                      <a:cubicBezTo>
                        <a:pt x="1507" y="173261"/>
                        <a:pt x="-450" y="86631"/>
                        <a:pt x="1018" y="0"/>
                      </a:cubicBezTo>
                      <a:close/>
                    </a:path>
                  </a:pathLst>
                </a:custGeom>
                <a:solidFill>
                  <a:schemeClr val="tx1">
                    <a:lumMod val="75000"/>
                    <a:lumOff val="25000"/>
                  </a:schemeClr>
                </a:solidFill>
                <a:ln w="24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86" name="Graphic 2">
                  <a:extLst>
                    <a:ext uri="{FF2B5EF4-FFF2-40B4-BE49-F238E27FC236}">
                      <a16:creationId xmlns:a16="http://schemas.microsoft.com/office/drawing/2014/main" id="{1C31D477-106B-43ED-96A0-A3155FE175EA}"/>
                    </a:ext>
                  </a:extLst>
                </p:cNvPr>
                <p:cNvSpPr/>
                <p:nvPr/>
              </p:nvSpPr>
              <p:spPr>
                <a:xfrm>
                  <a:off x="9047406" y="3987630"/>
                  <a:ext cx="16143" cy="27796"/>
                </a:xfrm>
                <a:custGeom>
                  <a:avLst/>
                  <a:gdLst>
                    <a:gd name="connsiteX0" fmla="*/ 692 w 242474"/>
                    <a:gd name="connsiteY0" fmla="*/ 0 h 417490"/>
                    <a:gd name="connsiteX1" fmla="*/ 97601 w 242474"/>
                    <a:gd name="connsiteY1" fmla="*/ 54327 h 417490"/>
                    <a:gd name="connsiteX2" fmla="*/ 239048 w 242474"/>
                    <a:gd name="connsiteY2" fmla="*/ 136553 h 417490"/>
                    <a:gd name="connsiteX3" fmla="*/ 242474 w 242474"/>
                    <a:gd name="connsiteY3" fmla="*/ 139000 h 417490"/>
                    <a:gd name="connsiteX4" fmla="*/ 242474 w 242474"/>
                    <a:gd name="connsiteY4" fmla="*/ 417491 h 417490"/>
                    <a:gd name="connsiteX5" fmla="*/ 203 w 242474"/>
                    <a:gd name="connsiteY5" fmla="*/ 279469 h 417490"/>
                    <a:gd name="connsiteX6" fmla="*/ 692 w 242474"/>
                    <a:gd name="connsiteY6" fmla="*/ 0 h 417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474" h="417490">
                      <a:moveTo>
                        <a:pt x="692" y="0"/>
                      </a:moveTo>
                      <a:cubicBezTo>
                        <a:pt x="33974" y="16152"/>
                        <a:pt x="65298" y="36219"/>
                        <a:pt x="97601" y="54327"/>
                      </a:cubicBezTo>
                      <a:cubicBezTo>
                        <a:pt x="144587" y="81736"/>
                        <a:pt x="192062" y="108656"/>
                        <a:pt x="239048" y="136553"/>
                      </a:cubicBezTo>
                      <a:cubicBezTo>
                        <a:pt x="240027" y="137043"/>
                        <a:pt x="241495" y="138511"/>
                        <a:pt x="242474" y="139000"/>
                      </a:cubicBezTo>
                      <a:cubicBezTo>
                        <a:pt x="241985" y="231994"/>
                        <a:pt x="242474" y="324498"/>
                        <a:pt x="242474" y="417491"/>
                      </a:cubicBezTo>
                      <a:cubicBezTo>
                        <a:pt x="160738" y="372952"/>
                        <a:pt x="81939" y="324008"/>
                        <a:pt x="203" y="279469"/>
                      </a:cubicBezTo>
                      <a:cubicBezTo>
                        <a:pt x="-287" y="185986"/>
                        <a:pt x="203" y="92993"/>
                        <a:pt x="692" y="0"/>
                      </a:cubicBezTo>
                      <a:close/>
                    </a:path>
                  </a:pathLst>
                </a:custGeom>
                <a:solidFill>
                  <a:srgbClr val="6D6D6D"/>
                </a:solidFill>
                <a:ln w="244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grpSp>
            <p:nvGrpSpPr>
              <p:cNvPr id="1521" name="Group 1520">
                <a:extLst>
                  <a:ext uri="{FF2B5EF4-FFF2-40B4-BE49-F238E27FC236}">
                    <a16:creationId xmlns:a16="http://schemas.microsoft.com/office/drawing/2014/main" id="{16FACBAB-C54F-488A-A487-BE33CB0A93D6}"/>
                  </a:ext>
                </a:extLst>
              </p:cNvPr>
              <p:cNvGrpSpPr/>
              <p:nvPr/>
            </p:nvGrpSpPr>
            <p:grpSpPr>
              <a:xfrm>
                <a:off x="5031062" y="5136659"/>
                <a:ext cx="905996" cy="1015538"/>
                <a:chOff x="5031062" y="5136659"/>
                <a:chExt cx="905996" cy="1015538"/>
              </a:xfrm>
            </p:grpSpPr>
            <p:sp>
              <p:nvSpPr>
                <p:cNvPr id="1525" name="Graphic 2">
                  <a:extLst>
                    <a:ext uri="{FF2B5EF4-FFF2-40B4-BE49-F238E27FC236}">
                      <a16:creationId xmlns:a16="http://schemas.microsoft.com/office/drawing/2014/main" id="{8209D718-0CDD-4029-A961-BD8572851038}"/>
                    </a:ext>
                  </a:extLst>
                </p:cNvPr>
                <p:cNvSpPr/>
                <p:nvPr/>
              </p:nvSpPr>
              <p:spPr>
                <a:xfrm>
                  <a:off x="5317783" y="5795017"/>
                  <a:ext cx="461317" cy="357180"/>
                </a:xfrm>
                <a:custGeom>
                  <a:avLst/>
                  <a:gdLst>
                    <a:gd name="connsiteX0" fmla="*/ 804672 w 14474951"/>
                    <a:gd name="connsiteY0" fmla="*/ 649226 h 11207497"/>
                    <a:gd name="connsiteX1" fmla="*/ 4721353 w 14474951"/>
                    <a:gd name="connsiteY1" fmla="*/ 0 h 11207497"/>
                    <a:gd name="connsiteX2" fmla="*/ 9287256 w 14474951"/>
                    <a:gd name="connsiteY2" fmla="*/ 778766 h 11207497"/>
                    <a:gd name="connsiteX3" fmla="*/ 13592556 w 14474951"/>
                    <a:gd name="connsiteY3" fmla="*/ 77725 h 11207497"/>
                    <a:gd name="connsiteX4" fmla="*/ 14474951 w 14474951"/>
                    <a:gd name="connsiteY4" fmla="*/ 10428736 h 11207497"/>
                    <a:gd name="connsiteX5" fmla="*/ 9546336 w 14474951"/>
                    <a:gd name="connsiteY5" fmla="*/ 11154156 h 11207497"/>
                    <a:gd name="connsiteX6" fmla="*/ 4436364 w 14474951"/>
                    <a:gd name="connsiteY6" fmla="*/ 10273285 h 11207497"/>
                    <a:gd name="connsiteX7" fmla="*/ 0 w 14474951"/>
                    <a:gd name="connsiteY7" fmla="*/ 11207497 h 1120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74951" h="11207497">
                      <a:moveTo>
                        <a:pt x="804672" y="649226"/>
                      </a:moveTo>
                      <a:lnTo>
                        <a:pt x="4721353" y="0"/>
                      </a:lnTo>
                      <a:lnTo>
                        <a:pt x="9287256" y="778766"/>
                      </a:lnTo>
                      <a:lnTo>
                        <a:pt x="13592556" y="77725"/>
                      </a:lnTo>
                      <a:lnTo>
                        <a:pt x="14474951" y="10428736"/>
                      </a:lnTo>
                      <a:lnTo>
                        <a:pt x="9546336" y="11154156"/>
                      </a:lnTo>
                      <a:lnTo>
                        <a:pt x="4436364" y="10273285"/>
                      </a:lnTo>
                      <a:lnTo>
                        <a:pt x="0" y="11207497"/>
                      </a:ln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26" name="Graphic 2">
                  <a:extLst>
                    <a:ext uri="{FF2B5EF4-FFF2-40B4-BE49-F238E27FC236}">
                      <a16:creationId xmlns:a16="http://schemas.microsoft.com/office/drawing/2014/main" id="{BB4ED669-0302-4917-AD1A-EA78B277E155}"/>
                    </a:ext>
                  </a:extLst>
                </p:cNvPr>
                <p:cNvSpPr/>
                <p:nvPr/>
              </p:nvSpPr>
              <p:spPr>
                <a:xfrm>
                  <a:off x="5478404" y="5819933"/>
                  <a:ext cx="103793" cy="66929"/>
                </a:xfrm>
                <a:custGeom>
                  <a:avLst/>
                  <a:gdLst>
                    <a:gd name="connsiteX0" fmla="*/ 3032760 w 3256788"/>
                    <a:gd name="connsiteY0" fmla="*/ 2100072 h 2100071"/>
                    <a:gd name="connsiteX1" fmla="*/ 3256789 w 3256788"/>
                    <a:gd name="connsiteY1" fmla="*/ 454154 h 2100071"/>
                    <a:gd name="connsiteX2" fmla="*/ 60960 w 3256788"/>
                    <a:gd name="connsiteY2" fmla="*/ 0 h 2100071"/>
                    <a:gd name="connsiteX3" fmla="*/ 0 w 3256788"/>
                    <a:gd name="connsiteY3" fmla="*/ 1196341 h 2100071"/>
                  </a:gdLst>
                  <a:ahLst/>
                  <a:cxnLst>
                    <a:cxn ang="0">
                      <a:pos x="connsiteX0" y="connsiteY0"/>
                    </a:cxn>
                    <a:cxn ang="0">
                      <a:pos x="connsiteX1" y="connsiteY1"/>
                    </a:cxn>
                    <a:cxn ang="0">
                      <a:pos x="connsiteX2" y="connsiteY2"/>
                    </a:cxn>
                    <a:cxn ang="0">
                      <a:pos x="connsiteX3" y="connsiteY3"/>
                    </a:cxn>
                  </a:cxnLst>
                  <a:rect l="l" t="t" r="r" b="b"/>
                  <a:pathLst>
                    <a:path w="3256788" h="2100071">
                      <a:moveTo>
                        <a:pt x="3032760" y="2100072"/>
                      </a:moveTo>
                      <a:lnTo>
                        <a:pt x="3256789" y="454154"/>
                      </a:lnTo>
                      <a:lnTo>
                        <a:pt x="60960" y="0"/>
                      </a:lnTo>
                      <a:lnTo>
                        <a:pt x="0" y="1196341"/>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27" name="Graphic 2">
                  <a:extLst>
                    <a:ext uri="{FF2B5EF4-FFF2-40B4-BE49-F238E27FC236}">
                      <a16:creationId xmlns:a16="http://schemas.microsoft.com/office/drawing/2014/main" id="{71219AD7-1CC5-4277-A0C8-E314F5BFFEF1}"/>
                    </a:ext>
                  </a:extLst>
                </p:cNvPr>
                <p:cNvSpPr/>
                <p:nvPr/>
              </p:nvSpPr>
              <p:spPr>
                <a:xfrm>
                  <a:off x="5471361" y="5878265"/>
                  <a:ext cx="100685" cy="139540"/>
                </a:xfrm>
                <a:custGeom>
                  <a:avLst/>
                  <a:gdLst>
                    <a:gd name="connsiteX0" fmla="*/ 0 w 3159251"/>
                    <a:gd name="connsiteY0" fmla="*/ 3762756 h 4378453"/>
                    <a:gd name="connsiteX1" fmla="*/ 2691384 w 3159251"/>
                    <a:gd name="connsiteY1" fmla="*/ 4378454 h 4378453"/>
                    <a:gd name="connsiteX2" fmla="*/ 3159251 w 3159251"/>
                    <a:gd name="connsiteY2" fmla="*/ 954026 h 4378453"/>
                    <a:gd name="connsiteX3" fmla="*/ 188976 w 3159251"/>
                    <a:gd name="connsiteY3" fmla="*/ 0 h 4378453"/>
                    <a:gd name="connsiteX4" fmla="*/ 10668 w 3159251"/>
                    <a:gd name="connsiteY4" fmla="*/ 3480816 h 4378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9251" h="4378453">
                      <a:moveTo>
                        <a:pt x="0" y="3762756"/>
                      </a:moveTo>
                      <a:lnTo>
                        <a:pt x="2691384" y="4378454"/>
                      </a:lnTo>
                      <a:lnTo>
                        <a:pt x="3159251" y="954026"/>
                      </a:lnTo>
                      <a:lnTo>
                        <a:pt x="188976" y="0"/>
                      </a:lnTo>
                      <a:lnTo>
                        <a:pt x="10668" y="3480816"/>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28" name="Graphic 2">
                  <a:extLst>
                    <a:ext uri="{FF2B5EF4-FFF2-40B4-BE49-F238E27FC236}">
                      <a16:creationId xmlns:a16="http://schemas.microsoft.com/office/drawing/2014/main" id="{408CFBBA-618D-4ED1-A215-B75E737A69D2}"/>
                    </a:ext>
                  </a:extLst>
                </p:cNvPr>
                <p:cNvSpPr/>
                <p:nvPr/>
              </p:nvSpPr>
              <p:spPr>
                <a:xfrm>
                  <a:off x="5465824" y="6020039"/>
                  <a:ext cx="88543" cy="100247"/>
                </a:xfrm>
                <a:custGeom>
                  <a:avLst/>
                  <a:gdLst>
                    <a:gd name="connsiteX0" fmla="*/ 2426208 w 2778251"/>
                    <a:gd name="connsiteY0" fmla="*/ 3145534 h 3145533"/>
                    <a:gd name="connsiteX1" fmla="*/ 2778251 w 2778251"/>
                    <a:gd name="connsiteY1" fmla="*/ 569975 h 3145533"/>
                    <a:gd name="connsiteX2" fmla="*/ 135636 w 2778251"/>
                    <a:gd name="connsiteY2" fmla="*/ 0 h 3145533"/>
                    <a:gd name="connsiteX3" fmla="*/ 0 w 2778251"/>
                    <a:gd name="connsiteY3" fmla="*/ 2653285 h 3145533"/>
                  </a:gdLst>
                  <a:ahLst/>
                  <a:cxnLst>
                    <a:cxn ang="0">
                      <a:pos x="connsiteX0" y="connsiteY0"/>
                    </a:cxn>
                    <a:cxn ang="0">
                      <a:pos x="connsiteX1" y="connsiteY1"/>
                    </a:cxn>
                    <a:cxn ang="0">
                      <a:pos x="connsiteX2" y="connsiteY2"/>
                    </a:cxn>
                    <a:cxn ang="0">
                      <a:pos x="connsiteX3" y="connsiteY3"/>
                    </a:cxn>
                  </a:cxnLst>
                  <a:rect l="l" t="t" r="r" b="b"/>
                  <a:pathLst>
                    <a:path w="2778251" h="3145533">
                      <a:moveTo>
                        <a:pt x="2426208" y="3145534"/>
                      </a:moveTo>
                      <a:lnTo>
                        <a:pt x="2778251" y="569975"/>
                      </a:lnTo>
                      <a:lnTo>
                        <a:pt x="135636" y="0"/>
                      </a:lnTo>
                      <a:lnTo>
                        <a:pt x="0" y="2653285"/>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29" name="Graphic 2">
                  <a:extLst>
                    <a:ext uri="{FF2B5EF4-FFF2-40B4-BE49-F238E27FC236}">
                      <a16:creationId xmlns:a16="http://schemas.microsoft.com/office/drawing/2014/main" id="{BE430153-4B44-4F14-A0E9-F36BB63CF41F}"/>
                    </a:ext>
                  </a:extLst>
                </p:cNvPr>
                <p:cNvSpPr/>
                <p:nvPr/>
              </p:nvSpPr>
              <p:spPr>
                <a:xfrm>
                  <a:off x="5349645" y="5824402"/>
                  <a:ext cx="93740" cy="194763"/>
                </a:xfrm>
                <a:custGeom>
                  <a:avLst/>
                  <a:gdLst>
                    <a:gd name="connsiteX0" fmla="*/ 2941320 w 2941319"/>
                    <a:gd name="connsiteY0" fmla="*/ 0 h 6111240"/>
                    <a:gd name="connsiteX1" fmla="*/ 432816 w 2941319"/>
                    <a:gd name="connsiteY1" fmla="*/ 443485 h 6111240"/>
                    <a:gd name="connsiteX2" fmla="*/ 0 w 2941319"/>
                    <a:gd name="connsiteY2" fmla="*/ 6111241 h 6111240"/>
                    <a:gd name="connsiteX3" fmla="*/ 2775205 w 2941319"/>
                    <a:gd name="connsiteY3" fmla="*/ 5547359 h 6111240"/>
                  </a:gdLst>
                  <a:ahLst/>
                  <a:cxnLst>
                    <a:cxn ang="0">
                      <a:pos x="connsiteX0" y="connsiteY0"/>
                    </a:cxn>
                    <a:cxn ang="0">
                      <a:pos x="connsiteX1" y="connsiteY1"/>
                    </a:cxn>
                    <a:cxn ang="0">
                      <a:pos x="connsiteX2" y="connsiteY2"/>
                    </a:cxn>
                    <a:cxn ang="0">
                      <a:pos x="connsiteX3" y="connsiteY3"/>
                    </a:cxn>
                  </a:cxnLst>
                  <a:rect l="l" t="t" r="r" b="b"/>
                  <a:pathLst>
                    <a:path w="2941319" h="6111240">
                      <a:moveTo>
                        <a:pt x="2941320" y="0"/>
                      </a:moveTo>
                      <a:lnTo>
                        <a:pt x="432816" y="443485"/>
                      </a:lnTo>
                      <a:lnTo>
                        <a:pt x="0" y="6111241"/>
                      </a:lnTo>
                      <a:lnTo>
                        <a:pt x="2775205" y="5547359"/>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0" name="Graphic 2">
                  <a:extLst>
                    <a:ext uri="{FF2B5EF4-FFF2-40B4-BE49-F238E27FC236}">
                      <a16:creationId xmlns:a16="http://schemas.microsoft.com/office/drawing/2014/main" id="{20798207-A9DE-467D-95D2-057A23A03581}"/>
                    </a:ext>
                  </a:extLst>
                </p:cNvPr>
                <p:cNvSpPr/>
                <p:nvPr/>
              </p:nvSpPr>
              <p:spPr>
                <a:xfrm>
                  <a:off x="5341777" y="6023342"/>
                  <a:ext cx="95683" cy="105056"/>
                </a:xfrm>
                <a:custGeom>
                  <a:avLst/>
                  <a:gdLst>
                    <a:gd name="connsiteX0" fmla="*/ 3002280 w 3002279"/>
                    <a:gd name="connsiteY0" fmla="*/ 0 h 3296412"/>
                    <a:gd name="connsiteX1" fmla="*/ 193548 w 3002279"/>
                    <a:gd name="connsiteY1" fmla="*/ 592838 h 3296412"/>
                    <a:gd name="connsiteX2" fmla="*/ 0 w 3002279"/>
                    <a:gd name="connsiteY2" fmla="*/ 3296413 h 3296412"/>
                    <a:gd name="connsiteX3" fmla="*/ 2921508 w 3002279"/>
                    <a:gd name="connsiteY3" fmla="*/ 2694431 h 3296412"/>
                  </a:gdLst>
                  <a:ahLst/>
                  <a:cxnLst>
                    <a:cxn ang="0">
                      <a:pos x="connsiteX0" y="connsiteY0"/>
                    </a:cxn>
                    <a:cxn ang="0">
                      <a:pos x="connsiteX1" y="connsiteY1"/>
                    </a:cxn>
                    <a:cxn ang="0">
                      <a:pos x="connsiteX2" y="connsiteY2"/>
                    </a:cxn>
                    <a:cxn ang="0">
                      <a:pos x="connsiteX3" y="connsiteY3"/>
                    </a:cxn>
                  </a:cxnLst>
                  <a:rect l="l" t="t" r="r" b="b"/>
                  <a:pathLst>
                    <a:path w="3002279" h="3296412">
                      <a:moveTo>
                        <a:pt x="3002280" y="0"/>
                      </a:moveTo>
                      <a:lnTo>
                        <a:pt x="193548" y="592838"/>
                      </a:lnTo>
                      <a:lnTo>
                        <a:pt x="0" y="3296413"/>
                      </a:lnTo>
                      <a:lnTo>
                        <a:pt x="2921508" y="2694431"/>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1" name="Graphic 2">
                  <a:extLst>
                    <a:ext uri="{FF2B5EF4-FFF2-40B4-BE49-F238E27FC236}">
                      <a16:creationId xmlns:a16="http://schemas.microsoft.com/office/drawing/2014/main" id="{1F6E3995-B1E3-4EAD-A6BC-FE146EFFBFEB}"/>
                    </a:ext>
                  </a:extLst>
                </p:cNvPr>
                <p:cNvSpPr/>
                <p:nvPr/>
              </p:nvSpPr>
              <p:spPr>
                <a:xfrm>
                  <a:off x="5576661" y="6027956"/>
                  <a:ext cx="183011" cy="109136"/>
                </a:xfrm>
                <a:custGeom>
                  <a:avLst/>
                  <a:gdLst>
                    <a:gd name="connsiteX0" fmla="*/ 5742431 w 5742430"/>
                    <a:gd name="connsiteY0" fmla="*/ 2625849 h 3424428"/>
                    <a:gd name="connsiteX1" fmla="*/ 5469636 w 5742430"/>
                    <a:gd name="connsiteY1" fmla="*/ 0 h 3424428"/>
                    <a:gd name="connsiteX2" fmla="*/ 1336548 w 5742430"/>
                    <a:gd name="connsiteY2" fmla="*/ 704087 h 3424428"/>
                    <a:gd name="connsiteX3" fmla="*/ 347472 w 5742430"/>
                    <a:gd name="connsiteY3" fmla="*/ 553213 h 3424428"/>
                    <a:gd name="connsiteX4" fmla="*/ 0 w 5742430"/>
                    <a:gd name="connsiteY4" fmla="*/ 3096765 h 3424428"/>
                    <a:gd name="connsiteX5" fmla="*/ 1345692 w 5742430"/>
                    <a:gd name="connsiteY5" fmla="*/ 3424428 h 342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2430" h="3424428">
                      <a:moveTo>
                        <a:pt x="5742431" y="2625849"/>
                      </a:moveTo>
                      <a:lnTo>
                        <a:pt x="5469636" y="0"/>
                      </a:lnTo>
                      <a:lnTo>
                        <a:pt x="1336548" y="704087"/>
                      </a:lnTo>
                      <a:lnTo>
                        <a:pt x="347472" y="553213"/>
                      </a:lnTo>
                      <a:lnTo>
                        <a:pt x="0" y="3096765"/>
                      </a:lnTo>
                      <a:lnTo>
                        <a:pt x="1345692" y="3424428"/>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2" name="Graphic 2">
                  <a:extLst>
                    <a:ext uri="{FF2B5EF4-FFF2-40B4-BE49-F238E27FC236}">
                      <a16:creationId xmlns:a16="http://schemas.microsoft.com/office/drawing/2014/main" id="{9311009B-1561-4D4C-B916-503696B7837C}"/>
                    </a:ext>
                  </a:extLst>
                </p:cNvPr>
                <p:cNvSpPr/>
                <p:nvPr/>
              </p:nvSpPr>
              <p:spPr>
                <a:xfrm>
                  <a:off x="5590746" y="5912264"/>
                  <a:ext cx="157755" cy="111953"/>
                </a:xfrm>
                <a:custGeom>
                  <a:avLst/>
                  <a:gdLst>
                    <a:gd name="connsiteX0" fmla="*/ 4949953 w 4949952"/>
                    <a:gd name="connsiteY0" fmla="*/ 3026662 h 3512818"/>
                    <a:gd name="connsiteX1" fmla="*/ 4716781 w 4949952"/>
                    <a:gd name="connsiteY1" fmla="*/ 128015 h 3512818"/>
                    <a:gd name="connsiteX2" fmla="*/ 915923 w 4949952"/>
                    <a:gd name="connsiteY2" fmla="*/ 220982 h 3512818"/>
                    <a:gd name="connsiteX3" fmla="*/ 470915 w 4949952"/>
                    <a:gd name="connsiteY3" fmla="*/ 0 h 3512818"/>
                    <a:gd name="connsiteX4" fmla="*/ 0 w 4949952"/>
                    <a:gd name="connsiteY4" fmla="*/ 3416806 h 3512818"/>
                    <a:gd name="connsiteX5" fmla="*/ 912876 w 4949952"/>
                    <a:gd name="connsiteY5" fmla="*/ 3512818 h 351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9952" h="3512818">
                      <a:moveTo>
                        <a:pt x="4949953" y="3026662"/>
                      </a:moveTo>
                      <a:lnTo>
                        <a:pt x="4716781" y="128015"/>
                      </a:lnTo>
                      <a:lnTo>
                        <a:pt x="915923" y="220982"/>
                      </a:lnTo>
                      <a:lnTo>
                        <a:pt x="470915" y="0"/>
                      </a:lnTo>
                      <a:lnTo>
                        <a:pt x="0" y="3416806"/>
                      </a:lnTo>
                      <a:lnTo>
                        <a:pt x="912876" y="3512818"/>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3" name="Graphic 2">
                  <a:extLst>
                    <a:ext uri="{FF2B5EF4-FFF2-40B4-BE49-F238E27FC236}">
                      <a16:creationId xmlns:a16="http://schemas.microsoft.com/office/drawing/2014/main" id="{389C78BB-6DC0-4508-B7C7-07EA3ED57787}"/>
                    </a:ext>
                  </a:extLst>
                </p:cNvPr>
                <p:cNvSpPr/>
                <p:nvPr/>
              </p:nvSpPr>
              <p:spPr>
                <a:xfrm>
                  <a:off x="5608085" y="5824596"/>
                  <a:ext cx="129245" cy="74214"/>
                </a:xfrm>
                <a:custGeom>
                  <a:avLst/>
                  <a:gdLst>
                    <a:gd name="connsiteX0" fmla="*/ 4055364 w 4055364"/>
                    <a:gd name="connsiteY0" fmla="*/ 2237231 h 2328671"/>
                    <a:gd name="connsiteX1" fmla="*/ 3957828 w 4055364"/>
                    <a:gd name="connsiteY1" fmla="*/ 0 h 2328671"/>
                    <a:gd name="connsiteX2" fmla="*/ 373380 w 4055364"/>
                    <a:gd name="connsiteY2" fmla="*/ 496821 h 2328671"/>
                    <a:gd name="connsiteX3" fmla="*/ 373380 w 4055364"/>
                    <a:gd name="connsiteY3" fmla="*/ 495300 h 2328671"/>
                    <a:gd name="connsiteX4" fmla="*/ 260604 w 4055364"/>
                    <a:gd name="connsiteY4" fmla="*/ 469390 h 2328671"/>
                    <a:gd name="connsiteX5" fmla="*/ 0 w 4055364"/>
                    <a:gd name="connsiteY5" fmla="*/ 2209800 h 2328671"/>
                    <a:gd name="connsiteX6" fmla="*/ 365759 w 4055364"/>
                    <a:gd name="connsiteY6" fmla="*/ 2328672 h 232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5364" h="2328671">
                      <a:moveTo>
                        <a:pt x="4055364" y="2237231"/>
                      </a:moveTo>
                      <a:lnTo>
                        <a:pt x="3957828" y="0"/>
                      </a:lnTo>
                      <a:lnTo>
                        <a:pt x="373380" y="496821"/>
                      </a:lnTo>
                      <a:lnTo>
                        <a:pt x="373380" y="495300"/>
                      </a:lnTo>
                      <a:lnTo>
                        <a:pt x="260604" y="469390"/>
                      </a:lnTo>
                      <a:lnTo>
                        <a:pt x="0" y="2209800"/>
                      </a:lnTo>
                      <a:lnTo>
                        <a:pt x="365759" y="2328672"/>
                      </a:ln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4" name="Graphic 2">
                  <a:extLst>
                    <a:ext uri="{FF2B5EF4-FFF2-40B4-BE49-F238E27FC236}">
                      <a16:creationId xmlns:a16="http://schemas.microsoft.com/office/drawing/2014/main" id="{BEA0B106-707E-4F18-821F-AD94CEDECFCD}"/>
                    </a:ext>
                  </a:extLst>
                </p:cNvPr>
                <p:cNvSpPr/>
                <p:nvPr/>
              </p:nvSpPr>
              <p:spPr>
                <a:xfrm>
                  <a:off x="5619839" y="5945148"/>
                  <a:ext cx="128710" cy="79068"/>
                </a:xfrm>
                <a:custGeom>
                  <a:avLst/>
                  <a:gdLst>
                    <a:gd name="connsiteX0" fmla="*/ 0 w 4038600"/>
                    <a:gd name="connsiteY0" fmla="*/ 2480978 h 2480977"/>
                    <a:gd name="connsiteX1" fmla="*/ 1799844 w 4038600"/>
                    <a:gd name="connsiteY1" fmla="*/ 7528 h 2480977"/>
                    <a:gd name="connsiteX2" fmla="*/ 2162556 w 4038600"/>
                    <a:gd name="connsiteY2" fmla="*/ 953931 h 2480977"/>
                    <a:gd name="connsiteX3" fmla="*/ 2628900 w 4038600"/>
                    <a:gd name="connsiteY3" fmla="*/ 1900334 h 2480977"/>
                    <a:gd name="connsiteX4" fmla="*/ 3995928 w 4038600"/>
                    <a:gd name="connsiteY4" fmla="*/ 1467518 h 2480977"/>
                    <a:gd name="connsiteX5" fmla="*/ 4038600 w 4038600"/>
                    <a:gd name="connsiteY5" fmla="*/ 1993300 h 2480977"/>
                    <a:gd name="connsiteX6" fmla="*/ 0 w 4038600"/>
                    <a:gd name="connsiteY6" fmla="*/ 2480978 h 248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8600" h="2480977">
                      <a:moveTo>
                        <a:pt x="0" y="2480978"/>
                      </a:moveTo>
                      <a:cubicBezTo>
                        <a:pt x="0" y="2480978"/>
                        <a:pt x="775715" y="33434"/>
                        <a:pt x="1799844" y="7528"/>
                      </a:cubicBezTo>
                      <a:cubicBezTo>
                        <a:pt x="1799844" y="7528"/>
                        <a:pt x="2759964" y="-147923"/>
                        <a:pt x="2162556" y="953931"/>
                      </a:cubicBezTo>
                      <a:cubicBezTo>
                        <a:pt x="2162556" y="953931"/>
                        <a:pt x="1786128" y="1822613"/>
                        <a:pt x="2628900" y="1900334"/>
                      </a:cubicBezTo>
                      <a:cubicBezTo>
                        <a:pt x="2628900" y="1900334"/>
                        <a:pt x="3464051" y="2128934"/>
                        <a:pt x="3995928" y="1467518"/>
                      </a:cubicBezTo>
                      <a:lnTo>
                        <a:pt x="4038600" y="1993300"/>
                      </a:lnTo>
                      <a:lnTo>
                        <a:pt x="0" y="2480978"/>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5" name="Graphic 2">
                  <a:extLst>
                    <a:ext uri="{FF2B5EF4-FFF2-40B4-BE49-F238E27FC236}">
                      <a16:creationId xmlns:a16="http://schemas.microsoft.com/office/drawing/2014/main" id="{3C363187-2A95-4A0B-AB2A-DC284F2270D8}"/>
                    </a:ext>
                  </a:extLst>
                </p:cNvPr>
                <p:cNvSpPr/>
                <p:nvPr/>
              </p:nvSpPr>
              <p:spPr>
                <a:xfrm>
                  <a:off x="5590648" y="6050395"/>
                  <a:ext cx="28900" cy="86696"/>
                </a:xfrm>
                <a:custGeom>
                  <a:avLst/>
                  <a:gdLst>
                    <a:gd name="connsiteX0" fmla="*/ 899187 w 906807"/>
                    <a:gd name="connsiteY0" fmla="*/ 0 h 2720340"/>
                    <a:gd name="connsiteX1" fmla="*/ 62512 w 906807"/>
                    <a:gd name="connsiteY1" fmla="*/ 1868426 h 2720340"/>
                    <a:gd name="connsiteX2" fmla="*/ 906808 w 906807"/>
                    <a:gd name="connsiteY2" fmla="*/ 2720341 h 2720340"/>
                    <a:gd name="connsiteX3" fmla="*/ 899187 w 906807"/>
                    <a:gd name="connsiteY3" fmla="*/ 0 h 2720340"/>
                  </a:gdLst>
                  <a:ahLst/>
                  <a:cxnLst>
                    <a:cxn ang="0">
                      <a:pos x="connsiteX0" y="connsiteY0"/>
                    </a:cxn>
                    <a:cxn ang="0">
                      <a:pos x="connsiteX1" y="connsiteY1"/>
                    </a:cxn>
                    <a:cxn ang="0">
                      <a:pos x="connsiteX2" y="connsiteY2"/>
                    </a:cxn>
                    <a:cxn ang="0">
                      <a:pos x="connsiteX3" y="connsiteY3"/>
                    </a:cxn>
                  </a:cxnLst>
                  <a:rect l="l" t="t" r="r" b="b"/>
                  <a:pathLst>
                    <a:path w="906807" h="2720340">
                      <a:moveTo>
                        <a:pt x="899187" y="0"/>
                      </a:moveTo>
                      <a:cubicBezTo>
                        <a:pt x="899187" y="0"/>
                        <a:pt x="-280388" y="908303"/>
                        <a:pt x="62512" y="1868426"/>
                      </a:cubicBezTo>
                      <a:cubicBezTo>
                        <a:pt x="62512" y="1868426"/>
                        <a:pt x="277395" y="2564890"/>
                        <a:pt x="906808" y="2720341"/>
                      </a:cubicBezTo>
                      <a:lnTo>
                        <a:pt x="899187" y="0"/>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6" name="Graphic 2">
                  <a:extLst>
                    <a:ext uri="{FF2B5EF4-FFF2-40B4-BE49-F238E27FC236}">
                      <a16:creationId xmlns:a16="http://schemas.microsoft.com/office/drawing/2014/main" id="{551EB95A-756E-42C8-831D-EB0E727B5215}"/>
                    </a:ext>
                  </a:extLst>
                </p:cNvPr>
                <p:cNvSpPr/>
                <p:nvPr/>
              </p:nvSpPr>
              <p:spPr>
                <a:xfrm>
                  <a:off x="5619305" y="6027956"/>
                  <a:ext cx="140367" cy="109136"/>
                </a:xfrm>
                <a:custGeom>
                  <a:avLst/>
                  <a:gdLst>
                    <a:gd name="connsiteX0" fmla="*/ 0 w 4404359"/>
                    <a:gd name="connsiteY0" fmla="*/ 704087 h 3424428"/>
                    <a:gd name="connsiteX1" fmla="*/ 4131564 w 4404359"/>
                    <a:gd name="connsiteY1" fmla="*/ 0 h 3424428"/>
                    <a:gd name="connsiteX2" fmla="*/ 4404359 w 4404359"/>
                    <a:gd name="connsiteY2" fmla="*/ 2625849 h 3424428"/>
                    <a:gd name="connsiteX3" fmla="*/ 7620 w 4404359"/>
                    <a:gd name="connsiteY3" fmla="*/ 3424428 h 3424428"/>
                  </a:gdLst>
                  <a:ahLst/>
                  <a:cxnLst>
                    <a:cxn ang="0">
                      <a:pos x="connsiteX0" y="connsiteY0"/>
                    </a:cxn>
                    <a:cxn ang="0">
                      <a:pos x="connsiteX1" y="connsiteY1"/>
                    </a:cxn>
                    <a:cxn ang="0">
                      <a:pos x="connsiteX2" y="connsiteY2"/>
                    </a:cxn>
                    <a:cxn ang="0">
                      <a:pos x="connsiteX3" y="connsiteY3"/>
                    </a:cxn>
                  </a:cxnLst>
                  <a:rect l="l" t="t" r="r" b="b"/>
                  <a:pathLst>
                    <a:path w="4404359" h="3424428">
                      <a:moveTo>
                        <a:pt x="0" y="704087"/>
                      </a:moveTo>
                      <a:lnTo>
                        <a:pt x="4131564" y="0"/>
                      </a:lnTo>
                      <a:lnTo>
                        <a:pt x="4404359" y="2625849"/>
                      </a:lnTo>
                      <a:lnTo>
                        <a:pt x="7620" y="3424428"/>
                      </a:ln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7" name="Graphic 2">
                  <a:extLst>
                    <a:ext uri="{FF2B5EF4-FFF2-40B4-BE49-F238E27FC236}">
                      <a16:creationId xmlns:a16="http://schemas.microsoft.com/office/drawing/2014/main" id="{3922475B-8550-45D8-BB97-EAF9D07D81B2}"/>
                    </a:ext>
                  </a:extLst>
                </p:cNvPr>
                <p:cNvSpPr/>
                <p:nvPr/>
              </p:nvSpPr>
              <p:spPr>
                <a:xfrm>
                  <a:off x="5493460" y="5725612"/>
                  <a:ext cx="117005" cy="211714"/>
                </a:xfrm>
                <a:custGeom>
                  <a:avLst/>
                  <a:gdLst>
                    <a:gd name="connsiteX0" fmla="*/ 3671317 w 3671316"/>
                    <a:gd name="connsiteY0" fmla="*/ 1784603 h 6643115"/>
                    <a:gd name="connsiteX1" fmla="*/ 3668269 w 3671316"/>
                    <a:gd name="connsiteY1" fmla="*/ 1789175 h 6643115"/>
                    <a:gd name="connsiteX2" fmla="*/ 1834896 w 3671316"/>
                    <a:gd name="connsiteY2" fmla="*/ 0 h 6643115"/>
                    <a:gd name="connsiteX3" fmla="*/ 0 w 3671316"/>
                    <a:gd name="connsiteY3" fmla="*/ 1834893 h 6643115"/>
                    <a:gd name="connsiteX4" fmla="*/ 1834896 w 3671316"/>
                    <a:gd name="connsiteY4" fmla="*/ 3669790 h 6643115"/>
                    <a:gd name="connsiteX5" fmla="*/ 1967485 w 3671316"/>
                    <a:gd name="connsiteY5" fmla="*/ 3663693 h 6643115"/>
                    <a:gd name="connsiteX6" fmla="*/ 1296924 w 3671316"/>
                    <a:gd name="connsiteY6" fmla="*/ 6643116 h 6643115"/>
                    <a:gd name="connsiteX7" fmla="*/ 3669792 w 3671316"/>
                    <a:gd name="connsiteY7" fmla="*/ 1850134 h 6643115"/>
                    <a:gd name="connsiteX8" fmla="*/ 3671317 w 3671316"/>
                    <a:gd name="connsiteY8" fmla="*/ 1833372 h 6643115"/>
                    <a:gd name="connsiteX9" fmla="*/ 3671317 w 3671316"/>
                    <a:gd name="connsiteY9" fmla="*/ 1828800 h 6643115"/>
                    <a:gd name="connsiteX10" fmla="*/ 3671317 w 3671316"/>
                    <a:gd name="connsiteY10" fmla="*/ 1784603 h 664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71316" h="6643115">
                      <a:moveTo>
                        <a:pt x="3671317" y="1784603"/>
                      </a:moveTo>
                      <a:lnTo>
                        <a:pt x="3668269" y="1789175"/>
                      </a:lnTo>
                      <a:cubicBezTo>
                        <a:pt x="3643885" y="797049"/>
                        <a:pt x="2833117" y="0"/>
                        <a:pt x="1834896" y="0"/>
                      </a:cubicBezTo>
                      <a:cubicBezTo>
                        <a:pt x="821437" y="0"/>
                        <a:pt x="0" y="821434"/>
                        <a:pt x="0" y="1834893"/>
                      </a:cubicBezTo>
                      <a:cubicBezTo>
                        <a:pt x="0" y="2848356"/>
                        <a:pt x="821437" y="3669790"/>
                        <a:pt x="1834896" y="3669790"/>
                      </a:cubicBezTo>
                      <a:cubicBezTo>
                        <a:pt x="1879092" y="3669790"/>
                        <a:pt x="1923288" y="3666744"/>
                        <a:pt x="1967485" y="3663693"/>
                      </a:cubicBezTo>
                      <a:lnTo>
                        <a:pt x="1296924" y="6643116"/>
                      </a:lnTo>
                      <a:cubicBezTo>
                        <a:pt x="1296924" y="6643116"/>
                        <a:pt x="3628645" y="4335777"/>
                        <a:pt x="3669792" y="1850134"/>
                      </a:cubicBezTo>
                      <a:cubicBezTo>
                        <a:pt x="3669792" y="1844036"/>
                        <a:pt x="3671317" y="1839465"/>
                        <a:pt x="3671317" y="1833372"/>
                      </a:cubicBezTo>
                      <a:cubicBezTo>
                        <a:pt x="3671317" y="1831846"/>
                        <a:pt x="3671317" y="1830321"/>
                        <a:pt x="3671317" y="1828800"/>
                      </a:cubicBezTo>
                      <a:cubicBezTo>
                        <a:pt x="3671317" y="1815085"/>
                        <a:pt x="3671317" y="1799844"/>
                        <a:pt x="3671317" y="1784603"/>
                      </a:cubicBezTo>
                      <a:close/>
                    </a:path>
                  </a:pathLst>
                </a:custGeom>
                <a:solidFill>
                  <a:srgbClr val="6D6D6D"/>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8" name="Graphic 2">
                  <a:extLst>
                    <a:ext uri="{FF2B5EF4-FFF2-40B4-BE49-F238E27FC236}">
                      <a16:creationId xmlns:a16="http://schemas.microsoft.com/office/drawing/2014/main" id="{8831ABFF-E1B6-4F97-B6A0-A0A2C3ED08B6}"/>
                    </a:ext>
                  </a:extLst>
                </p:cNvPr>
                <p:cNvSpPr/>
                <p:nvPr/>
              </p:nvSpPr>
              <p:spPr>
                <a:xfrm>
                  <a:off x="5494529" y="5725563"/>
                  <a:ext cx="112439" cy="203457"/>
                </a:xfrm>
                <a:custGeom>
                  <a:avLst/>
                  <a:gdLst>
                    <a:gd name="connsiteX0" fmla="*/ 3526536 w 3528060"/>
                    <a:gd name="connsiteY0" fmla="*/ 1760218 h 6384038"/>
                    <a:gd name="connsiteX1" fmla="*/ 3528060 w 3528060"/>
                    <a:gd name="connsiteY1" fmla="*/ 1716026 h 6384038"/>
                    <a:gd name="connsiteX2" fmla="*/ 3525013 w 3528060"/>
                    <a:gd name="connsiteY2" fmla="*/ 1719072 h 6384038"/>
                    <a:gd name="connsiteX3" fmla="*/ 1763268 w 3528060"/>
                    <a:gd name="connsiteY3" fmla="*/ 0 h 6384038"/>
                    <a:gd name="connsiteX4" fmla="*/ 0 w 3528060"/>
                    <a:gd name="connsiteY4" fmla="*/ 1763269 h 6384038"/>
                    <a:gd name="connsiteX5" fmla="*/ 1763268 w 3528060"/>
                    <a:gd name="connsiteY5" fmla="*/ 3526538 h 6384038"/>
                    <a:gd name="connsiteX6" fmla="*/ 2093977 w 3528060"/>
                    <a:gd name="connsiteY6" fmla="*/ 3491485 h 6384038"/>
                    <a:gd name="connsiteX7" fmla="*/ 1392936 w 3528060"/>
                    <a:gd name="connsiteY7" fmla="*/ 6384038 h 6384038"/>
                    <a:gd name="connsiteX8" fmla="*/ 3526536 w 3528060"/>
                    <a:gd name="connsiteY8" fmla="*/ 1778510 h 6384038"/>
                    <a:gd name="connsiteX9" fmla="*/ 3528060 w 3528060"/>
                    <a:gd name="connsiteY9" fmla="*/ 1763269 h 6384038"/>
                    <a:gd name="connsiteX10" fmla="*/ 3526536 w 3528060"/>
                    <a:gd name="connsiteY10" fmla="*/ 1760218 h 6384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8060" h="6384038">
                      <a:moveTo>
                        <a:pt x="3526536" y="1760218"/>
                      </a:moveTo>
                      <a:cubicBezTo>
                        <a:pt x="3526536" y="1744982"/>
                        <a:pt x="3528060" y="1731262"/>
                        <a:pt x="3528060" y="1716026"/>
                      </a:cubicBezTo>
                      <a:lnTo>
                        <a:pt x="3525013" y="1719072"/>
                      </a:lnTo>
                      <a:cubicBezTo>
                        <a:pt x="3500628" y="766572"/>
                        <a:pt x="2721864" y="0"/>
                        <a:pt x="1763268" y="0"/>
                      </a:cubicBezTo>
                      <a:cubicBezTo>
                        <a:pt x="789432" y="0"/>
                        <a:pt x="0" y="789431"/>
                        <a:pt x="0" y="1763269"/>
                      </a:cubicBezTo>
                      <a:cubicBezTo>
                        <a:pt x="0" y="2737103"/>
                        <a:pt x="789432" y="3526538"/>
                        <a:pt x="1763268" y="3526538"/>
                      </a:cubicBezTo>
                      <a:cubicBezTo>
                        <a:pt x="1805941" y="3526538"/>
                        <a:pt x="1965960" y="3520441"/>
                        <a:pt x="2093977" y="3491485"/>
                      </a:cubicBezTo>
                      <a:lnTo>
                        <a:pt x="1392936" y="6384038"/>
                      </a:lnTo>
                      <a:cubicBezTo>
                        <a:pt x="1392936" y="6384038"/>
                        <a:pt x="3486913" y="4166616"/>
                        <a:pt x="3526536" y="1778510"/>
                      </a:cubicBezTo>
                      <a:cubicBezTo>
                        <a:pt x="3526536" y="1773938"/>
                        <a:pt x="3528060" y="1767841"/>
                        <a:pt x="3528060" y="1763269"/>
                      </a:cubicBezTo>
                      <a:cubicBezTo>
                        <a:pt x="3526536" y="1763269"/>
                        <a:pt x="3526536" y="1761744"/>
                        <a:pt x="3526536" y="1760218"/>
                      </a:cubicBezTo>
                      <a:close/>
                    </a:path>
                  </a:pathLst>
                </a:custGeom>
                <a:solidFill>
                  <a:srgbClr val="BABABA"/>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39" name="Graphic 2">
                  <a:extLst>
                    <a:ext uri="{FF2B5EF4-FFF2-40B4-BE49-F238E27FC236}">
                      <a16:creationId xmlns:a16="http://schemas.microsoft.com/office/drawing/2014/main" id="{D2EC4EE2-DF7F-49F0-BB87-945CFE00EAE0}"/>
                    </a:ext>
                  </a:extLst>
                </p:cNvPr>
                <p:cNvSpPr/>
                <p:nvPr/>
              </p:nvSpPr>
              <p:spPr>
                <a:xfrm>
                  <a:off x="5509780" y="5740862"/>
                  <a:ext cx="81889" cy="81888"/>
                </a:xfrm>
                <a:custGeom>
                  <a:avLst/>
                  <a:gdLst>
                    <a:gd name="connsiteX0" fmla="*/ 2569464 w 2569464"/>
                    <a:gd name="connsiteY0" fmla="*/ 1284730 h 2569464"/>
                    <a:gd name="connsiteX1" fmla="*/ 1284732 w 2569464"/>
                    <a:gd name="connsiteY1" fmla="*/ 2569461 h 2569464"/>
                    <a:gd name="connsiteX2" fmla="*/ 0 w 2569464"/>
                    <a:gd name="connsiteY2" fmla="*/ 1284730 h 2569464"/>
                    <a:gd name="connsiteX3" fmla="*/ 1284732 w 2569464"/>
                    <a:gd name="connsiteY3" fmla="*/ -1 h 2569464"/>
                    <a:gd name="connsiteX4" fmla="*/ 2569464 w 2569464"/>
                    <a:gd name="connsiteY4" fmla="*/ 1284730 h 2569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464" h="2569464">
                      <a:moveTo>
                        <a:pt x="2569464" y="1284730"/>
                      </a:moveTo>
                      <a:cubicBezTo>
                        <a:pt x="2569464" y="1994268"/>
                        <a:pt x="1994270" y="2569461"/>
                        <a:pt x="1284732" y="2569461"/>
                      </a:cubicBezTo>
                      <a:cubicBezTo>
                        <a:pt x="575194" y="2569461"/>
                        <a:pt x="0" y="1994268"/>
                        <a:pt x="0" y="1284730"/>
                      </a:cubicBezTo>
                      <a:cubicBezTo>
                        <a:pt x="0" y="575192"/>
                        <a:pt x="575194" y="-1"/>
                        <a:pt x="1284732" y="-1"/>
                      </a:cubicBezTo>
                      <a:cubicBezTo>
                        <a:pt x="1994270" y="-1"/>
                        <a:pt x="2569464" y="575192"/>
                        <a:pt x="2569464" y="1284730"/>
                      </a:cubicBezTo>
                      <a:close/>
                    </a:path>
                  </a:pathLst>
                </a:custGeom>
                <a:solidFill>
                  <a:schemeClr val="bg1"/>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0" name="Graphic 2">
                  <a:extLst>
                    <a:ext uri="{FF2B5EF4-FFF2-40B4-BE49-F238E27FC236}">
                      <a16:creationId xmlns:a16="http://schemas.microsoft.com/office/drawing/2014/main" id="{7F0AFD5E-9AC5-49FB-9C6A-F875108B848F}"/>
                    </a:ext>
                  </a:extLst>
                </p:cNvPr>
                <p:cNvSpPr/>
                <p:nvPr/>
              </p:nvSpPr>
              <p:spPr>
                <a:xfrm>
                  <a:off x="5526536" y="5757619"/>
                  <a:ext cx="48376" cy="48375"/>
                </a:xfrm>
                <a:custGeom>
                  <a:avLst/>
                  <a:gdLst>
                    <a:gd name="connsiteX0" fmla="*/ 1517904 w 1517904"/>
                    <a:gd name="connsiteY0" fmla="*/ 758950 h 1517904"/>
                    <a:gd name="connsiteX1" fmla="*/ 758952 w 1517904"/>
                    <a:gd name="connsiteY1" fmla="*/ 1517904 h 1517904"/>
                    <a:gd name="connsiteX2" fmla="*/ -1 w 1517904"/>
                    <a:gd name="connsiteY2" fmla="*/ 758950 h 1517904"/>
                    <a:gd name="connsiteX3" fmla="*/ 758952 w 1517904"/>
                    <a:gd name="connsiteY3" fmla="*/ -4 h 1517904"/>
                    <a:gd name="connsiteX4" fmla="*/ 1517904 w 1517904"/>
                    <a:gd name="connsiteY4" fmla="*/ 758950 h 1517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7904" h="1517904">
                      <a:moveTo>
                        <a:pt x="1517904" y="758950"/>
                      </a:moveTo>
                      <a:cubicBezTo>
                        <a:pt x="1517904" y="1178106"/>
                        <a:pt x="1178110" y="1517904"/>
                        <a:pt x="758952" y="1517904"/>
                      </a:cubicBezTo>
                      <a:cubicBezTo>
                        <a:pt x="339793" y="1517904"/>
                        <a:pt x="-1" y="1178110"/>
                        <a:pt x="-1" y="758950"/>
                      </a:cubicBezTo>
                      <a:cubicBezTo>
                        <a:pt x="-1" y="339794"/>
                        <a:pt x="339793" y="-4"/>
                        <a:pt x="758952" y="-4"/>
                      </a:cubicBezTo>
                      <a:cubicBezTo>
                        <a:pt x="1178110" y="-4"/>
                        <a:pt x="1517904" y="339790"/>
                        <a:pt x="1517904" y="758950"/>
                      </a:cubicBezTo>
                      <a:close/>
                    </a:path>
                  </a:pathLst>
                </a:custGeom>
                <a:solidFill>
                  <a:srgbClr val="D96930"/>
                </a:solidFill>
                <a:ln w="1524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1" name="Graphic 2">
                  <a:extLst>
                    <a:ext uri="{FF2B5EF4-FFF2-40B4-BE49-F238E27FC236}">
                      <a16:creationId xmlns:a16="http://schemas.microsoft.com/office/drawing/2014/main" id="{09178DDE-5ABB-4BBE-A331-6A1973825D0A}"/>
                    </a:ext>
                  </a:extLst>
                </p:cNvPr>
                <p:cNvSpPr/>
                <p:nvPr/>
              </p:nvSpPr>
              <p:spPr>
                <a:xfrm>
                  <a:off x="5103857" y="5183078"/>
                  <a:ext cx="45301" cy="104438"/>
                </a:xfrm>
                <a:custGeom>
                  <a:avLst/>
                  <a:gdLst>
                    <a:gd name="connsiteX0" fmla="*/ 438883 w 438882"/>
                    <a:gd name="connsiteY0" fmla="*/ 0 h 1011803"/>
                    <a:gd name="connsiteX1" fmla="*/ 0 w 438882"/>
                    <a:gd name="connsiteY1" fmla="*/ 328574 h 1011803"/>
                    <a:gd name="connsiteX2" fmla="*/ 0 w 438882"/>
                    <a:gd name="connsiteY2" fmla="*/ 1011803 h 1011803"/>
                    <a:gd name="connsiteX3" fmla="*/ 421781 w 438882"/>
                    <a:gd name="connsiteY3" fmla="*/ 817908 h 1011803"/>
                  </a:gdLst>
                  <a:ahLst/>
                  <a:cxnLst>
                    <a:cxn ang="0">
                      <a:pos x="connsiteX0" y="connsiteY0"/>
                    </a:cxn>
                    <a:cxn ang="0">
                      <a:pos x="connsiteX1" y="connsiteY1"/>
                    </a:cxn>
                    <a:cxn ang="0">
                      <a:pos x="connsiteX2" y="connsiteY2"/>
                    </a:cxn>
                    <a:cxn ang="0">
                      <a:pos x="connsiteX3" y="connsiteY3"/>
                    </a:cxn>
                  </a:cxnLst>
                  <a:rect l="l" t="t" r="r" b="b"/>
                  <a:pathLst>
                    <a:path w="438882" h="1011803">
                      <a:moveTo>
                        <a:pt x="438883" y="0"/>
                      </a:moveTo>
                      <a:lnTo>
                        <a:pt x="0" y="328574"/>
                      </a:lnTo>
                      <a:lnTo>
                        <a:pt x="0" y="1011803"/>
                      </a:lnTo>
                      <a:lnTo>
                        <a:pt x="421781" y="817908"/>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2" name="Graphic 2">
                  <a:extLst>
                    <a:ext uri="{FF2B5EF4-FFF2-40B4-BE49-F238E27FC236}">
                      <a16:creationId xmlns:a16="http://schemas.microsoft.com/office/drawing/2014/main" id="{5445E53B-3DF8-4BC9-A646-5B03FEB97107}"/>
                    </a:ext>
                  </a:extLst>
                </p:cNvPr>
                <p:cNvSpPr/>
                <p:nvPr/>
              </p:nvSpPr>
              <p:spPr>
                <a:xfrm>
                  <a:off x="5497200" y="5505173"/>
                  <a:ext cx="291289" cy="169775"/>
                </a:xfrm>
                <a:custGeom>
                  <a:avLst/>
                  <a:gdLst>
                    <a:gd name="connsiteX0" fmla="*/ 0 w 2822061"/>
                    <a:gd name="connsiteY0" fmla="*/ 1644795 h 1644794"/>
                    <a:gd name="connsiteX1" fmla="*/ 2822062 w 2822061"/>
                    <a:gd name="connsiteY1" fmla="*/ 1462444 h 1644794"/>
                    <a:gd name="connsiteX2" fmla="*/ 2822062 w 2822061"/>
                    <a:gd name="connsiteY2" fmla="*/ 0 h 1644794"/>
                    <a:gd name="connsiteX3" fmla="*/ 0 w 2822061"/>
                    <a:gd name="connsiteY3" fmla="*/ 64774 h 1644794"/>
                  </a:gdLst>
                  <a:ahLst/>
                  <a:cxnLst>
                    <a:cxn ang="0">
                      <a:pos x="connsiteX0" y="connsiteY0"/>
                    </a:cxn>
                    <a:cxn ang="0">
                      <a:pos x="connsiteX1" y="connsiteY1"/>
                    </a:cxn>
                    <a:cxn ang="0">
                      <a:pos x="connsiteX2" y="connsiteY2"/>
                    </a:cxn>
                    <a:cxn ang="0">
                      <a:pos x="connsiteX3" y="connsiteY3"/>
                    </a:cxn>
                  </a:cxnLst>
                  <a:rect l="l" t="t" r="r" b="b"/>
                  <a:pathLst>
                    <a:path w="2822061" h="1644794">
                      <a:moveTo>
                        <a:pt x="0" y="1644795"/>
                      </a:moveTo>
                      <a:lnTo>
                        <a:pt x="2822062" y="1462444"/>
                      </a:lnTo>
                      <a:lnTo>
                        <a:pt x="2822062" y="0"/>
                      </a:lnTo>
                      <a:lnTo>
                        <a:pt x="0" y="6477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3" name="Graphic 2">
                  <a:extLst>
                    <a:ext uri="{FF2B5EF4-FFF2-40B4-BE49-F238E27FC236}">
                      <a16:creationId xmlns:a16="http://schemas.microsoft.com/office/drawing/2014/main" id="{35434829-94D0-4A56-880D-D8DED9BCE6D1}"/>
                    </a:ext>
                  </a:extLst>
                </p:cNvPr>
                <p:cNvSpPr/>
                <p:nvPr/>
              </p:nvSpPr>
              <p:spPr>
                <a:xfrm>
                  <a:off x="5031062" y="5633574"/>
                  <a:ext cx="905996" cy="100797"/>
                </a:xfrm>
                <a:custGeom>
                  <a:avLst/>
                  <a:gdLst>
                    <a:gd name="connsiteX0" fmla="*/ 0 w 8777442"/>
                    <a:gd name="connsiteY0" fmla="*/ 295011 h 976530"/>
                    <a:gd name="connsiteX1" fmla="*/ 554322 w 8777442"/>
                    <a:gd name="connsiteY1" fmla="*/ 976530 h 976530"/>
                    <a:gd name="connsiteX2" fmla="*/ 8777442 w 8777442"/>
                    <a:gd name="connsiteY2" fmla="*/ 480569 h 976530"/>
                    <a:gd name="connsiteX3" fmla="*/ 6895356 w 8777442"/>
                    <a:gd name="connsiteY3" fmla="*/ 0 h 976530"/>
                  </a:gdLst>
                  <a:ahLst/>
                  <a:cxnLst>
                    <a:cxn ang="0">
                      <a:pos x="connsiteX0" y="connsiteY0"/>
                    </a:cxn>
                    <a:cxn ang="0">
                      <a:pos x="connsiteX1" y="connsiteY1"/>
                    </a:cxn>
                    <a:cxn ang="0">
                      <a:pos x="connsiteX2" y="connsiteY2"/>
                    </a:cxn>
                    <a:cxn ang="0">
                      <a:pos x="connsiteX3" y="connsiteY3"/>
                    </a:cxn>
                  </a:cxnLst>
                  <a:rect l="l" t="t" r="r" b="b"/>
                  <a:pathLst>
                    <a:path w="8777442" h="976530">
                      <a:moveTo>
                        <a:pt x="0" y="295011"/>
                      </a:moveTo>
                      <a:lnTo>
                        <a:pt x="554322" y="976530"/>
                      </a:lnTo>
                      <a:lnTo>
                        <a:pt x="8777442" y="480569"/>
                      </a:lnTo>
                      <a:lnTo>
                        <a:pt x="6895356"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4" name="Graphic 2">
                  <a:extLst>
                    <a:ext uri="{FF2B5EF4-FFF2-40B4-BE49-F238E27FC236}">
                      <a16:creationId xmlns:a16="http://schemas.microsoft.com/office/drawing/2014/main" id="{D44282C3-85C6-4695-B8FA-49F767C00C13}"/>
                    </a:ext>
                  </a:extLst>
                </p:cNvPr>
                <p:cNvSpPr/>
                <p:nvPr/>
              </p:nvSpPr>
              <p:spPr>
                <a:xfrm>
                  <a:off x="5560330" y="5598865"/>
                  <a:ext cx="22794" cy="42057"/>
                </a:xfrm>
                <a:custGeom>
                  <a:avLst/>
                  <a:gdLst>
                    <a:gd name="connsiteX0" fmla="*/ 220831 w 220830"/>
                    <a:gd name="connsiteY0" fmla="*/ 36556 h 407457"/>
                    <a:gd name="connsiteX1" fmla="*/ 220831 w 220830"/>
                    <a:gd name="connsiteY1" fmla="*/ 389500 h 407457"/>
                    <a:gd name="connsiteX2" fmla="*/ 101971 w 220830"/>
                    <a:gd name="connsiteY2" fmla="*/ 407458 h 407457"/>
                    <a:gd name="connsiteX3" fmla="*/ 101971 w 220830"/>
                    <a:gd name="connsiteY3" fmla="*/ 25012 h 407457"/>
                    <a:gd name="connsiteX4" fmla="*/ 0 w 220830"/>
                    <a:gd name="connsiteY4" fmla="*/ 0 h 407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830" h="407457">
                      <a:moveTo>
                        <a:pt x="220831" y="36556"/>
                      </a:moveTo>
                      <a:lnTo>
                        <a:pt x="220831" y="389500"/>
                      </a:lnTo>
                      <a:lnTo>
                        <a:pt x="101971" y="407458"/>
                      </a:lnTo>
                      <a:lnTo>
                        <a:pt x="101971" y="25012"/>
                      </a:lnTo>
                      <a:lnTo>
                        <a:pt x="0"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5" name="Graphic 2">
                  <a:extLst>
                    <a:ext uri="{FF2B5EF4-FFF2-40B4-BE49-F238E27FC236}">
                      <a16:creationId xmlns:a16="http://schemas.microsoft.com/office/drawing/2014/main" id="{DCF15224-AE82-49B5-8568-06A40F77EE2E}"/>
                    </a:ext>
                  </a:extLst>
                </p:cNvPr>
                <p:cNvSpPr/>
                <p:nvPr/>
              </p:nvSpPr>
              <p:spPr>
                <a:xfrm>
                  <a:off x="5560330" y="5594385"/>
                  <a:ext cx="151128" cy="8253"/>
                </a:xfrm>
                <a:custGeom>
                  <a:avLst/>
                  <a:gdLst>
                    <a:gd name="connsiteX0" fmla="*/ 1304891 w 1464153"/>
                    <a:gd name="connsiteY0" fmla="*/ 0 h 79952"/>
                    <a:gd name="connsiteX1" fmla="*/ 0 w 1464153"/>
                    <a:gd name="connsiteY1" fmla="*/ 43397 h 79952"/>
                    <a:gd name="connsiteX2" fmla="*/ 220831 w 1464153"/>
                    <a:gd name="connsiteY2" fmla="*/ 79953 h 79952"/>
                    <a:gd name="connsiteX3" fmla="*/ 1464154 w 1464153"/>
                    <a:gd name="connsiteY3" fmla="*/ 30357 h 79952"/>
                  </a:gdLst>
                  <a:ahLst/>
                  <a:cxnLst>
                    <a:cxn ang="0">
                      <a:pos x="connsiteX0" y="connsiteY0"/>
                    </a:cxn>
                    <a:cxn ang="0">
                      <a:pos x="connsiteX1" y="connsiteY1"/>
                    </a:cxn>
                    <a:cxn ang="0">
                      <a:pos x="connsiteX2" y="connsiteY2"/>
                    </a:cxn>
                    <a:cxn ang="0">
                      <a:pos x="connsiteX3" y="connsiteY3"/>
                    </a:cxn>
                  </a:cxnLst>
                  <a:rect l="l" t="t" r="r" b="b"/>
                  <a:pathLst>
                    <a:path w="1464153" h="79952">
                      <a:moveTo>
                        <a:pt x="1304891" y="0"/>
                      </a:moveTo>
                      <a:lnTo>
                        <a:pt x="0" y="43397"/>
                      </a:lnTo>
                      <a:lnTo>
                        <a:pt x="220831" y="79953"/>
                      </a:lnTo>
                      <a:lnTo>
                        <a:pt x="1464154" y="30357"/>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6" name="Graphic 2">
                  <a:extLst>
                    <a:ext uri="{FF2B5EF4-FFF2-40B4-BE49-F238E27FC236}">
                      <a16:creationId xmlns:a16="http://schemas.microsoft.com/office/drawing/2014/main" id="{082ACF76-22EF-44BA-9002-76035A09FE12}"/>
                    </a:ext>
                  </a:extLst>
                </p:cNvPr>
                <p:cNvSpPr/>
                <p:nvPr/>
              </p:nvSpPr>
              <p:spPr>
                <a:xfrm>
                  <a:off x="5583124" y="5597519"/>
                  <a:ext cx="128334" cy="41550"/>
                </a:xfrm>
                <a:custGeom>
                  <a:avLst/>
                  <a:gdLst>
                    <a:gd name="connsiteX0" fmla="*/ 0 w 1243323"/>
                    <a:gd name="connsiteY0" fmla="*/ 402540 h 402540"/>
                    <a:gd name="connsiteX1" fmla="*/ 1243323 w 1243323"/>
                    <a:gd name="connsiteY1" fmla="*/ 402540 h 402540"/>
                    <a:gd name="connsiteX2" fmla="*/ 1243323 w 1243323"/>
                    <a:gd name="connsiteY2" fmla="*/ 0 h 402540"/>
                    <a:gd name="connsiteX3" fmla="*/ 0 w 1243323"/>
                    <a:gd name="connsiteY3" fmla="*/ 49596 h 402540"/>
                  </a:gdLst>
                  <a:ahLst/>
                  <a:cxnLst>
                    <a:cxn ang="0">
                      <a:pos x="connsiteX0" y="connsiteY0"/>
                    </a:cxn>
                    <a:cxn ang="0">
                      <a:pos x="connsiteX1" y="connsiteY1"/>
                    </a:cxn>
                    <a:cxn ang="0">
                      <a:pos x="connsiteX2" y="connsiteY2"/>
                    </a:cxn>
                    <a:cxn ang="0">
                      <a:pos x="connsiteX3" y="connsiteY3"/>
                    </a:cxn>
                  </a:cxnLst>
                  <a:rect l="l" t="t" r="r" b="b"/>
                  <a:pathLst>
                    <a:path w="1243323" h="402540">
                      <a:moveTo>
                        <a:pt x="0" y="402540"/>
                      </a:moveTo>
                      <a:lnTo>
                        <a:pt x="1243323" y="402540"/>
                      </a:lnTo>
                      <a:lnTo>
                        <a:pt x="1243323" y="0"/>
                      </a:lnTo>
                      <a:lnTo>
                        <a:pt x="0" y="49596"/>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7" name="Graphic 2">
                  <a:extLst>
                    <a:ext uri="{FF2B5EF4-FFF2-40B4-BE49-F238E27FC236}">
                      <a16:creationId xmlns:a16="http://schemas.microsoft.com/office/drawing/2014/main" id="{B53DE8F2-501D-4D5E-A221-FD6929546671}"/>
                    </a:ext>
                  </a:extLst>
                </p:cNvPr>
                <p:cNvSpPr/>
                <p:nvPr/>
              </p:nvSpPr>
              <p:spPr>
                <a:xfrm>
                  <a:off x="5569024" y="5425118"/>
                  <a:ext cx="37401" cy="3663"/>
                </a:xfrm>
                <a:custGeom>
                  <a:avLst/>
                  <a:gdLst>
                    <a:gd name="connsiteX0" fmla="*/ 0 w 362350"/>
                    <a:gd name="connsiteY0" fmla="*/ 0 h 35486"/>
                    <a:gd name="connsiteX1" fmla="*/ 362351 w 362350"/>
                    <a:gd name="connsiteY1" fmla="*/ 0 h 35486"/>
                    <a:gd name="connsiteX2" fmla="*/ 362351 w 362350"/>
                    <a:gd name="connsiteY2" fmla="*/ 35487 h 35486"/>
                    <a:gd name="connsiteX3" fmla="*/ 0 w 362350"/>
                    <a:gd name="connsiteY3" fmla="*/ 35487 h 35486"/>
                  </a:gdLst>
                  <a:ahLst/>
                  <a:cxnLst>
                    <a:cxn ang="0">
                      <a:pos x="connsiteX0" y="connsiteY0"/>
                    </a:cxn>
                    <a:cxn ang="0">
                      <a:pos x="connsiteX1" y="connsiteY1"/>
                    </a:cxn>
                    <a:cxn ang="0">
                      <a:pos x="connsiteX2" y="connsiteY2"/>
                    </a:cxn>
                    <a:cxn ang="0">
                      <a:pos x="connsiteX3" y="connsiteY3"/>
                    </a:cxn>
                  </a:cxnLst>
                  <a:rect l="l" t="t" r="r" b="b"/>
                  <a:pathLst>
                    <a:path w="362350" h="35486">
                      <a:moveTo>
                        <a:pt x="0" y="0"/>
                      </a:moveTo>
                      <a:lnTo>
                        <a:pt x="362351" y="0"/>
                      </a:lnTo>
                      <a:lnTo>
                        <a:pt x="362351" y="35487"/>
                      </a:lnTo>
                      <a:lnTo>
                        <a:pt x="0" y="35487"/>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8" name="Graphic 2">
                  <a:extLst>
                    <a:ext uri="{FF2B5EF4-FFF2-40B4-BE49-F238E27FC236}">
                      <a16:creationId xmlns:a16="http://schemas.microsoft.com/office/drawing/2014/main" id="{F5FC808A-5ADC-4A1A-BF81-3D5E693F580B}"/>
                    </a:ext>
                  </a:extLst>
                </p:cNvPr>
                <p:cNvSpPr/>
                <p:nvPr/>
              </p:nvSpPr>
              <p:spPr>
                <a:xfrm>
                  <a:off x="5565758" y="5413544"/>
                  <a:ext cx="6513" cy="29801"/>
                </a:xfrm>
                <a:custGeom>
                  <a:avLst/>
                  <a:gdLst>
                    <a:gd name="connsiteX0" fmla="*/ 63064 w 63101"/>
                    <a:gd name="connsiteY0" fmla="*/ 30257 h 288712"/>
                    <a:gd name="connsiteX1" fmla="*/ 56865 w 63101"/>
                    <a:gd name="connsiteY1" fmla="*/ 288712 h 288712"/>
                    <a:gd name="connsiteX2" fmla="*/ 0 w 63101"/>
                    <a:gd name="connsiteY2" fmla="*/ 288712 h 288712"/>
                    <a:gd name="connsiteX3" fmla="*/ 20736 w 63101"/>
                    <a:gd name="connsiteY3" fmla="*/ 13155 h 288712"/>
                    <a:gd name="connsiteX4" fmla="*/ 63064 w 63101"/>
                    <a:gd name="connsiteY4" fmla="*/ 30257 h 288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01" h="288712">
                      <a:moveTo>
                        <a:pt x="63064" y="30257"/>
                      </a:moveTo>
                      <a:lnTo>
                        <a:pt x="56865" y="288712"/>
                      </a:lnTo>
                      <a:lnTo>
                        <a:pt x="0" y="288712"/>
                      </a:lnTo>
                      <a:lnTo>
                        <a:pt x="20736" y="13155"/>
                      </a:lnTo>
                      <a:cubicBezTo>
                        <a:pt x="20736" y="13155"/>
                        <a:pt x="64560" y="-25752"/>
                        <a:pt x="63064" y="30257"/>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49" name="Graphic 2">
                  <a:extLst>
                    <a:ext uri="{FF2B5EF4-FFF2-40B4-BE49-F238E27FC236}">
                      <a16:creationId xmlns:a16="http://schemas.microsoft.com/office/drawing/2014/main" id="{0E662D5F-D710-4863-93A6-9D675F312DB4}"/>
                    </a:ext>
                  </a:extLst>
                </p:cNvPr>
                <p:cNvSpPr/>
                <p:nvPr/>
              </p:nvSpPr>
              <p:spPr>
                <a:xfrm>
                  <a:off x="5220165" y="5578872"/>
                  <a:ext cx="50830" cy="45412"/>
                </a:xfrm>
                <a:custGeom>
                  <a:avLst/>
                  <a:gdLst>
                    <a:gd name="connsiteX0" fmla="*/ 11116 w 492445"/>
                    <a:gd name="connsiteY0" fmla="*/ 439961 h 439961"/>
                    <a:gd name="connsiteX1" fmla="*/ 11116 w 492445"/>
                    <a:gd name="connsiteY1" fmla="*/ 186209 h 439961"/>
                    <a:gd name="connsiteX2" fmla="*/ 157339 w 492445"/>
                    <a:gd name="connsiteY2" fmla="*/ 21815 h 439961"/>
                    <a:gd name="connsiteX3" fmla="*/ 486555 w 492445"/>
                    <a:gd name="connsiteY3" fmla="*/ 90009 h 439961"/>
                    <a:gd name="connsiteX4" fmla="*/ 486555 w 492445"/>
                    <a:gd name="connsiteY4" fmla="*/ 439748 h 439961"/>
                    <a:gd name="connsiteX5" fmla="*/ 11116 w 492445"/>
                    <a:gd name="connsiteY5" fmla="*/ 439748 h 43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2445" h="439961">
                      <a:moveTo>
                        <a:pt x="11116" y="439961"/>
                      </a:moveTo>
                      <a:cubicBezTo>
                        <a:pt x="11116" y="439961"/>
                        <a:pt x="-13895" y="237515"/>
                        <a:pt x="11116" y="186209"/>
                      </a:cubicBezTo>
                      <a:cubicBezTo>
                        <a:pt x="36128" y="134902"/>
                        <a:pt x="54299" y="77824"/>
                        <a:pt x="157339" y="21815"/>
                      </a:cubicBezTo>
                      <a:cubicBezTo>
                        <a:pt x="260380" y="-34195"/>
                        <a:pt x="473301" y="28228"/>
                        <a:pt x="486555" y="90009"/>
                      </a:cubicBezTo>
                      <a:cubicBezTo>
                        <a:pt x="499809" y="151791"/>
                        <a:pt x="486555" y="439748"/>
                        <a:pt x="486555" y="439748"/>
                      </a:cubicBezTo>
                      <a:lnTo>
                        <a:pt x="11116" y="439748"/>
                      </a:lnTo>
                      <a:close/>
                    </a:path>
                  </a:pathLst>
                </a:custGeom>
                <a:solidFill>
                  <a:schemeClr val="bg1">
                    <a:lumMod val="7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0" name="Graphic 2">
                  <a:extLst>
                    <a:ext uri="{FF2B5EF4-FFF2-40B4-BE49-F238E27FC236}">
                      <a16:creationId xmlns:a16="http://schemas.microsoft.com/office/drawing/2014/main" id="{FA9E0984-A1E9-4925-963C-B7468E709F89}"/>
                    </a:ext>
                  </a:extLst>
                </p:cNvPr>
                <p:cNvSpPr/>
                <p:nvPr/>
              </p:nvSpPr>
              <p:spPr>
                <a:xfrm>
                  <a:off x="5573636" y="5412563"/>
                  <a:ext cx="35989" cy="10560"/>
                </a:xfrm>
                <a:custGeom>
                  <a:avLst/>
                  <a:gdLst>
                    <a:gd name="connsiteX0" fmla="*/ 28860 w 348669"/>
                    <a:gd name="connsiteY0" fmla="*/ 101757 h 102310"/>
                    <a:gd name="connsiteX1" fmla="*/ 296722 w 348669"/>
                    <a:gd name="connsiteY1" fmla="*/ 92993 h 102310"/>
                    <a:gd name="connsiteX2" fmla="*/ 348669 w 348669"/>
                    <a:gd name="connsiteY2" fmla="*/ 33349 h 102310"/>
                    <a:gd name="connsiteX3" fmla="*/ 0 w 348669"/>
                    <a:gd name="connsiteY3" fmla="*/ 0 h 102310"/>
                    <a:gd name="connsiteX4" fmla="*/ 28860 w 348669"/>
                    <a:gd name="connsiteY4" fmla="*/ 101757 h 102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669" h="102310">
                      <a:moveTo>
                        <a:pt x="28860" y="101757"/>
                      </a:moveTo>
                      <a:cubicBezTo>
                        <a:pt x="28860" y="101757"/>
                        <a:pt x="254394" y="105606"/>
                        <a:pt x="296722" y="92993"/>
                      </a:cubicBezTo>
                      <a:cubicBezTo>
                        <a:pt x="339049" y="80380"/>
                        <a:pt x="348669" y="33349"/>
                        <a:pt x="348669" y="33349"/>
                      </a:cubicBezTo>
                      <a:lnTo>
                        <a:pt x="0" y="0"/>
                      </a:lnTo>
                      <a:lnTo>
                        <a:pt x="28860" y="101757"/>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1" name="Graphic 2">
                  <a:extLst>
                    <a:ext uri="{FF2B5EF4-FFF2-40B4-BE49-F238E27FC236}">
                      <a16:creationId xmlns:a16="http://schemas.microsoft.com/office/drawing/2014/main" id="{4E877AAD-D4A9-43FE-A7E0-D48412A36F8E}"/>
                    </a:ext>
                  </a:extLst>
                </p:cNvPr>
                <p:cNvSpPr/>
                <p:nvPr/>
              </p:nvSpPr>
              <p:spPr>
                <a:xfrm>
                  <a:off x="5556998" y="5408767"/>
                  <a:ext cx="20477" cy="21360"/>
                </a:xfrm>
                <a:custGeom>
                  <a:avLst/>
                  <a:gdLst>
                    <a:gd name="connsiteX0" fmla="*/ 198385 w 198384"/>
                    <a:gd name="connsiteY0" fmla="*/ 103468 h 206935"/>
                    <a:gd name="connsiteX1" fmla="*/ 57506 w 198384"/>
                    <a:gd name="connsiteY1" fmla="*/ 206936 h 206935"/>
                    <a:gd name="connsiteX2" fmla="*/ 52803 w 198384"/>
                    <a:gd name="connsiteY2" fmla="*/ 206936 h 206935"/>
                    <a:gd name="connsiteX3" fmla="*/ 47458 w 198384"/>
                    <a:gd name="connsiteY3" fmla="*/ 206722 h 206935"/>
                    <a:gd name="connsiteX4" fmla="*/ 0 w 198384"/>
                    <a:gd name="connsiteY4" fmla="*/ 103468 h 206935"/>
                    <a:gd name="connsiteX5" fmla="*/ 47458 w 198384"/>
                    <a:gd name="connsiteY5" fmla="*/ 214 h 206935"/>
                    <a:gd name="connsiteX6" fmla="*/ 52803 w 198384"/>
                    <a:gd name="connsiteY6" fmla="*/ 0 h 206935"/>
                    <a:gd name="connsiteX7" fmla="*/ 57506 w 198384"/>
                    <a:gd name="connsiteY7" fmla="*/ 0 h 206935"/>
                    <a:gd name="connsiteX8" fmla="*/ 198385 w 198384"/>
                    <a:gd name="connsiteY8" fmla="*/ 103468 h 206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384" h="206935">
                      <a:moveTo>
                        <a:pt x="198385" y="103468"/>
                      </a:moveTo>
                      <a:cubicBezTo>
                        <a:pt x="198385" y="160760"/>
                        <a:pt x="135321" y="206936"/>
                        <a:pt x="57506" y="206936"/>
                      </a:cubicBezTo>
                      <a:cubicBezTo>
                        <a:pt x="56009" y="206936"/>
                        <a:pt x="54513" y="206936"/>
                        <a:pt x="52803" y="206936"/>
                      </a:cubicBezTo>
                      <a:cubicBezTo>
                        <a:pt x="51092" y="206936"/>
                        <a:pt x="49169" y="206722"/>
                        <a:pt x="47458" y="206722"/>
                      </a:cubicBezTo>
                      <a:cubicBezTo>
                        <a:pt x="20950" y="202874"/>
                        <a:pt x="0" y="158194"/>
                        <a:pt x="0" y="103468"/>
                      </a:cubicBezTo>
                      <a:cubicBezTo>
                        <a:pt x="0" y="48741"/>
                        <a:pt x="20950" y="3848"/>
                        <a:pt x="47458" y="214"/>
                      </a:cubicBezTo>
                      <a:cubicBezTo>
                        <a:pt x="49169" y="214"/>
                        <a:pt x="50879" y="0"/>
                        <a:pt x="52803" y="0"/>
                      </a:cubicBezTo>
                      <a:cubicBezTo>
                        <a:pt x="54299" y="0"/>
                        <a:pt x="55796" y="0"/>
                        <a:pt x="57506" y="0"/>
                      </a:cubicBezTo>
                      <a:cubicBezTo>
                        <a:pt x="135321" y="0"/>
                        <a:pt x="198385" y="46390"/>
                        <a:pt x="198385" y="10346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2" name="Graphic 2">
                  <a:extLst>
                    <a:ext uri="{FF2B5EF4-FFF2-40B4-BE49-F238E27FC236}">
                      <a16:creationId xmlns:a16="http://schemas.microsoft.com/office/drawing/2014/main" id="{6FCB5836-56C1-44AE-A57D-CCEDDE904B64}"/>
                    </a:ext>
                  </a:extLst>
                </p:cNvPr>
                <p:cNvSpPr/>
                <p:nvPr/>
              </p:nvSpPr>
              <p:spPr>
                <a:xfrm>
                  <a:off x="5381796" y="5401375"/>
                  <a:ext cx="14122" cy="21139"/>
                </a:xfrm>
                <a:custGeom>
                  <a:avLst/>
                  <a:gdLst>
                    <a:gd name="connsiteX0" fmla="*/ 68408 w 136816"/>
                    <a:gd name="connsiteY0" fmla="*/ 204798 h 204797"/>
                    <a:gd name="connsiteX1" fmla="*/ 68408 w 136816"/>
                    <a:gd name="connsiteY1" fmla="*/ 204798 h 204797"/>
                    <a:gd name="connsiteX2" fmla="*/ 0 w 136816"/>
                    <a:gd name="connsiteY2" fmla="*/ 136389 h 204797"/>
                    <a:gd name="connsiteX3" fmla="*/ 0 w 136816"/>
                    <a:gd name="connsiteY3" fmla="*/ 68408 h 204797"/>
                    <a:gd name="connsiteX4" fmla="*/ 68408 w 136816"/>
                    <a:gd name="connsiteY4" fmla="*/ 0 h 204797"/>
                    <a:gd name="connsiteX5" fmla="*/ 68408 w 136816"/>
                    <a:gd name="connsiteY5" fmla="*/ 0 h 204797"/>
                    <a:gd name="connsiteX6" fmla="*/ 136817 w 136816"/>
                    <a:gd name="connsiteY6" fmla="*/ 68408 h 204797"/>
                    <a:gd name="connsiteX7" fmla="*/ 136817 w 136816"/>
                    <a:gd name="connsiteY7" fmla="*/ 136389 h 204797"/>
                    <a:gd name="connsiteX8" fmla="*/ 68408 w 136816"/>
                    <a:gd name="connsiteY8" fmla="*/ 204798 h 20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16" h="204797">
                      <a:moveTo>
                        <a:pt x="68408" y="204798"/>
                      </a:moveTo>
                      <a:lnTo>
                        <a:pt x="68408" y="204798"/>
                      </a:lnTo>
                      <a:cubicBezTo>
                        <a:pt x="30570" y="204798"/>
                        <a:pt x="0" y="174228"/>
                        <a:pt x="0" y="136389"/>
                      </a:cubicBezTo>
                      <a:lnTo>
                        <a:pt x="0" y="68408"/>
                      </a:lnTo>
                      <a:cubicBezTo>
                        <a:pt x="0" y="30570"/>
                        <a:pt x="30570" y="0"/>
                        <a:pt x="68408" y="0"/>
                      </a:cubicBezTo>
                      <a:lnTo>
                        <a:pt x="68408" y="0"/>
                      </a:lnTo>
                      <a:cubicBezTo>
                        <a:pt x="106247" y="0"/>
                        <a:pt x="136817" y="30570"/>
                        <a:pt x="136817" y="68408"/>
                      </a:cubicBezTo>
                      <a:lnTo>
                        <a:pt x="136817" y="136389"/>
                      </a:lnTo>
                      <a:cubicBezTo>
                        <a:pt x="136817" y="174228"/>
                        <a:pt x="106247" y="204798"/>
                        <a:pt x="68408" y="20479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3" name="Graphic 2">
                  <a:extLst>
                    <a:ext uri="{FF2B5EF4-FFF2-40B4-BE49-F238E27FC236}">
                      <a16:creationId xmlns:a16="http://schemas.microsoft.com/office/drawing/2014/main" id="{220B7B37-E3E0-41D1-B1D3-015CBF54C77D}"/>
                    </a:ext>
                  </a:extLst>
                </p:cNvPr>
                <p:cNvSpPr/>
                <p:nvPr/>
              </p:nvSpPr>
              <p:spPr>
                <a:xfrm>
                  <a:off x="5382194" y="5441888"/>
                  <a:ext cx="13129" cy="3773"/>
                </a:xfrm>
                <a:custGeom>
                  <a:avLst/>
                  <a:gdLst>
                    <a:gd name="connsiteX0" fmla="*/ 0 w 127196"/>
                    <a:gd name="connsiteY0" fmla="*/ 0 h 36555"/>
                    <a:gd name="connsiteX1" fmla="*/ 127197 w 127196"/>
                    <a:gd name="connsiteY1" fmla="*/ 0 h 36555"/>
                    <a:gd name="connsiteX2" fmla="*/ 127197 w 127196"/>
                    <a:gd name="connsiteY2" fmla="*/ 36556 h 36555"/>
                    <a:gd name="connsiteX3" fmla="*/ 0 w 127196"/>
                    <a:gd name="connsiteY3" fmla="*/ 36556 h 36555"/>
                  </a:gdLst>
                  <a:ahLst/>
                  <a:cxnLst>
                    <a:cxn ang="0">
                      <a:pos x="connsiteX0" y="connsiteY0"/>
                    </a:cxn>
                    <a:cxn ang="0">
                      <a:pos x="connsiteX1" y="connsiteY1"/>
                    </a:cxn>
                    <a:cxn ang="0">
                      <a:pos x="connsiteX2" y="connsiteY2"/>
                    </a:cxn>
                    <a:cxn ang="0">
                      <a:pos x="connsiteX3" y="connsiteY3"/>
                    </a:cxn>
                  </a:cxnLst>
                  <a:rect l="l" t="t" r="r" b="b"/>
                  <a:pathLst>
                    <a:path w="127196" h="36555">
                      <a:moveTo>
                        <a:pt x="0" y="0"/>
                      </a:moveTo>
                      <a:lnTo>
                        <a:pt x="127197" y="0"/>
                      </a:lnTo>
                      <a:lnTo>
                        <a:pt x="127197" y="36556"/>
                      </a:lnTo>
                      <a:lnTo>
                        <a:pt x="0" y="36556"/>
                      </a:lnTo>
                      <a:close/>
                    </a:path>
                  </a:pathLst>
                </a:custGeom>
                <a:solidFill>
                  <a:schemeClr val="bg1">
                    <a:lumMod val="7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4" name="Graphic 2">
                  <a:extLst>
                    <a:ext uri="{FF2B5EF4-FFF2-40B4-BE49-F238E27FC236}">
                      <a16:creationId xmlns:a16="http://schemas.microsoft.com/office/drawing/2014/main" id="{22F6F8E8-DF95-49E0-8FBE-9DFC0D8C8FB5}"/>
                    </a:ext>
                  </a:extLst>
                </p:cNvPr>
                <p:cNvSpPr/>
                <p:nvPr/>
              </p:nvSpPr>
              <p:spPr>
                <a:xfrm rot="5400000">
                  <a:off x="5376955" y="5428066"/>
                  <a:ext cx="23610" cy="4060"/>
                </a:xfrm>
                <a:custGeom>
                  <a:avLst/>
                  <a:gdLst>
                    <a:gd name="connsiteX0" fmla="*/ 0 w 228740"/>
                    <a:gd name="connsiteY0" fmla="*/ 0 h 39334"/>
                    <a:gd name="connsiteX1" fmla="*/ 228741 w 228740"/>
                    <a:gd name="connsiteY1" fmla="*/ 0 h 39334"/>
                    <a:gd name="connsiteX2" fmla="*/ 228741 w 228740"/>
                    <a:gd name="connsiteY2" fmla="*/ 39335 h 39334"/>
                    <a:gd name="connsiteX3" fmla="*/ 0 w 228740"/>
                    <a:gd name="connsiteY3" fmla="*/ 39335 h 39334"/>
                  </a:gdLst>
                  <a:ahLst/>
                  <a:cxnLst>
                    <a:cxn ang="0">
                      <a:pos x="connsiteX0" y="connsiteY0"/>
                    </a:cxn>
                    <a:cxn ang="0">
                      <a:pos x="connsiteX1" y="connsiteY1"/>
                    </a:cxn>
                    <a:cxn ang="0">
                      <a:pos x="connsiteX2" y="connsiteY2"/>
                    </a:cxn>
                    <a:cxn ang="0">
                      <a:pos x="connsiteX3" y="connsiteY3"/>
                    </a:cxn>
                  </a:cxnLst>
                  <a:rect l="l" t="t" r="r" b="b"/>
                  <a:pathLst>
                    <a:path w="228740" h="39334">
                      <a:moveTo>
                        <a:pt x="0" y="0"/>
                      </a:moveTo>
                      <a:lnTo>
                        <a:pt x="228741" y="0"/>
                      </a:lnTo>
                      <a:lnTo>
                        <a:pt x="228741" y="39335"/>
                      </a:lnTo>
                      <a:lnTo>
                        <a:pt x="0" y="39335"/>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5" name="Graphic 2">
                  <a:extLst>
                    <a:ext uri="{FF2B5EF4-FFF2-40B4-BE49-F238E27FC236}">
                      <a16:creationId xmlns:a16="http://schemas.microsoft.com/office/drawing/2014/main" id="{42468829-7E36-426C-8C96-C80DD4822729}"/>
                    </a:ext>
                  </a:extLst>
                </p:cNvPr>
                <p:cNvSpPr/>
                <p:nvPr/>
              </p:nvSpPr>
              <p:spPr>
                <a:xfrm>
                  <a:off x="5041389" y="5444492"/>
                  <a:ext cx="37468" cy="76877"/>
                </a:xfrm>
                <a:custGeom>
                  <a:avLst/>
                  <a:gdLst>
                    <a:gd name="connsiteX0" fmla="*/ 0 w 362992"/>
                    <a:gd name="connsiteY0" fmla="*/ 0 h 744796"/>
                    <a:gd name="connsiteX1" fmla="*/ 0 w 362992"/>
                    <a:gd name="connsiteY1" fmla="*/ 573776 h 744796"/>
                    <a:gd name="connsiteX2" fmla="*/ 362992 w 362992"/>
                    <a:gd name="connsiteY2" fmla="*/ 744797 h 744796"/>
                    <a:gd name="connsiteX3" fmla="*/ 362992 w 362992"/>
                    <a:gd name="connsiteY3" fmla="*/ 52161 h 744796"/>
                  </a:gdLst>
                  <a:ahLst/>
                  <a:cxnLst>
                    <a:cxn ang="0">
                      <a:pos x="connsiteX0" y="connsiteY0"/>
                    </a:cxn>
                    <a:cxn ang="0">
                      <a:pos x="connsiteX1" y="connsiteY1"/>
                    </a:cxn>
                    <a:cxn ang="0">
                      <a:pos x="connsiteX2" y="connsiteY2"/>
                    </a:cxn>
                    <a:cxn ang="0">
                      <a:pos x="connsiteX3" y="connsiteY3"/>
                    </a:cxn>
                  </a:cxnLst>
                  <a:rect l="l" t="t" r="r" b="b"/>
                  <a:pathLst>
                    <a:path w="362992" h="744796">
                      <a:moveTo>
                        <a:pt x="0" y="0"/>
                      </a:moveTo>
                      <a:lnTo>
                        <a:pt x="0" y="573776"/>
                      </a:lnTo>
                      <a:lnTo>
                        <a:pt x="362992" y="744797"/>
                      </a:lnTo>
                      <a:lnTo>
                        <a:pt x="362992" y="52161"/>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6" name="Graphic 2">
                  <a:extLst>
                    <a:ext uri="{FF2B5EF4-FFF2-40B4-BE49-F238E27FC236}">
                      <a16:creationId xmlns:a16="http://schemas.microsoft.com/office/drawing/2014/main" id="{72E106AB-49F5-476F-95F8-16FB66A347F6}"/>
                    </a:ext>
                  </a:extLst>
                </p:cNvPr>
                <p:cNvSpPr/>
                <p:nvPr/>
              </p:nvSpPr>
              <p:spPr>
                <a:xfrm>
                  <a:off x="5380164" y="5415983"/>
                  <a:ext cx="17211" cy="6818"/>
                </a:xfrm>
                <a:custGeom>
                  <a:avLst/>
                  <a:gdLst>
                    <a:gd name="connsiteX0" fmla="*/ 0 w 166745"/>
                    <a:gd name="connsiteY0" fmla="*/ 0 h 66056"/>
                    <a:gd name="connsiteX1" fmla="*/ 166745 w 166745"/>
                    <a:gd name="connsiteY1" fmla="*/ 0 h 66056"/>
                    <a:gd name="connsiteX2" fmla="*/ 166745 w 166745"/>
                    <a:gd name="connsiteY2" fmla="*/ 66057 h 66056"/>
                    <a:gd name="connsiteX3" fmla="*/ 0 w 166745"/>
                    <a:gd name="connsiteY3" fmla="*/ 66057 h 66056"/>
                  </a:gdLst>
                  <a:ahLst/>
                  <a:cxnLst>
                    <a:cxn ang="0">
                      <a:pos x="connsiteX0" y="connsiteY0"/>
                    </a:cxn>
                    <a:cxn ang="0">
                      <a:pos x="connsiteX1" y="connsiteY1"/>
                    </a:cxn>
                    <a:cxn ang="0">
                      <a:pos x="connsiteX2" y="connsiteY2"/>
                    </a:cxn>
                    <a:cxn ang="0">
                      <a:pos x="connsiteX3" y="connsiteY3"/>
                    </a:cxn>
                  </a:cxnLst>
                  <a:rect l="l" t="t" r="r" b="b"/>
                  <a:pathLst>
                    <a:path w="166745" h="66056">
                      <a:moveTo>
                        <a:pt x="0" y="0"/>
                      </a:moveTo>
                      <a:lnTo>
                        <a:pt x="166745" y="0"/>
                      </a:lnTo>
                      <a:lnTo>
                        <a:pt x="166745" y="66057"/>
                      </a:lnTo>
                      <a:lnTo>
                        <a:pt x="0" y="66057"/>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7" name="Graphic 2">
                  <a:extLst>
                    <a:ext uri="{FF2B5EF4-FFF2-40B4-BE49-F238E27FC236}">
                      <a16:creationId xmlns:a16="http://schemas.microsoft.com/office/drawing/2014/main" id="{0FE2954A-95C5-4CF3-97D2-C543ECD87F4B}"/>
                    </a:ext>
                  </a:extLst>
                </p:cNvPr>
                <p:cNvSpPr/>
                <p:nvPr/>
              </p:nvSpPr>
              <p:spPr>
                <a:xfrm>
                  <a:off x="5078856" y="5446456"/>
                  <a:ext cx="775543" cy="74914"/>
                </a:xfrm>
                <a:custGeom>
                  <a:avLst/>
                  <a:gdLst>
                    <a:gd name="connsiteX0" fmla="*/ 7513597 w 7513596"/>
                    <a:gd name="connsiteY0" fmla="*/ 554750 h 725770"/>
                    <a:gd name="connsiteX1" fmla="*/ 0 w 7513596"/>
                    <a:gd name="connsiteY1" fmla="*/ 725771 h 725770"/>
                    <a:gd name="connsiteX2" fmla="*/ 0 w 7513596"/>
                    <a:gd name="connsiteY2" fmla="*/ 33135 h 725770"/>
                    <a:gd name="connsiteX3" fmla="*/ 7513597 w 7513596"/>
                    <a:gd name="connsiteY3" fmla="*/ 0 h 725770"/>
                  </a:gdLst>
                  <a:ahLst/>
                  <a:cxnLst>
                    <a:cxn ang="0">
                      <a:pos x="connsiteX0" y="connsiteY0"/>
                    </a:cxn>
                    <a:cxn ang="0">
                      <a:pos x="connsiteX1" y="connsiteY1"/>
                    </a:cxn>
                    <a:cxn ang="0">
                      <a:pos x="connsiteX2" y="connsiteY2"/>
                    </a:cxn>
                    <a:cxn ang="0">
                      <a:pos x="connsiteX3" y="connsiteY3"/>
                    </a:cxn>
                  </a:cxnLst>
                  <a:rect l="l" t="t" r="r" b="b"/>
                  <a:pathLst>
                    <a:path w="7513596" h="725770">
                      <a:moveTo>
                        <a:pt x="7513597" y="554750"/>
                      </a:moveTo>
                      <a:lnTo>
                        <a:pt x="0" y="725771"/>
                      </a:lnTo>
                      <a:lnTo>
                        <a:pt x="0" y="33135"/>
                      </a:lnTo>
                      <a:lnTo>
                        <a:pt x="751359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8" name="Graphic 2">
                  <a:extLst>
                    <a:ext uri="{FF2B5EF4-FFF2-40B4-BE49-F238E27FC236}">
                      <a16:creationId xmlns:a16="http://schemas.microsoft.com/office/drawing/2014/main" id="{70FF4185-EB7C-44EA-8D34-58EC0B5D6D5B}"/>
                    </a:ext>
                  </a:extLst>
                </p:cNvPr>
                <p:cNvSpPr/>
                <p:nvPr/>
              </p:nvSpPr>
              <p:spPr>
                <a:xfrm>
                  <a:off x="5044478" y="5505173"/>
                  <a:ext cx="5560" cy="163287"/>
                </a:xfrm>
                <a:custGeom>
                  <a:avLst/>
                  <a:gdLst>
                    <a:gd name="connsiteX0" fmla="*/ 53872 w 53871"/>
                    <a:gd name="connsiteY0" fmla="*/ 25439 h 1581944"/>
                    <a:gd name="connsiteX1" fmla="*/ 53872 w 53871"/>
                    <a:gd name="connsiteY1" fmla="*/ 1581945 h 1581944"/>
                    <a:gd name="connsiteX2" fmla="*/ 0 w 53871"/>
                    <a:gd name="connsiteY2" fmla="*/ 1527859 h 1581944"/>
                    <a:gd name="connsiteX3" fmla="*/ 0 w 53871"/>
                    <a:gd name="connsiteY3" fmla="*/ 0 h 1581944"/>
                  </a:gdLst>
                  <a:ahLst/>
                  <a:cxnLst>
                    <a:cxn ang="0">
                      <a:pos x="connsiteX0" y="connsiteY0"/>
                    </a:cxn>
                    <a:cxn ang="0">
                      <a:pos x="connsiteX1" y="connsiteY1"/>
                    </a:cxn>
                    <a:cxn ang="0">
                      <a:pos x="connsiteX2" y="connsiteY2"/>
                    </a:cxn>
                    <a:cxn ang="0">
                      <a:pos x="connsiteX3" y="connsiteY3"/>
                    </a:cxn>
                  </a:cxnLst>
                  <a:rect l="l" t="t" r="r" b="b"/>
                  <a:pathLst>
                    <a:path w="53871" h="1581944">
                      <a:moveTo>
                        <a:pt x="53872" y="25439"/>
                      </a:moveTo>
                      <a:lnTo>
                        <a:pt x="53872" y="1581945"/>
                      </a:lnTo>
                      <a:lnTo>
                        <a:pt x="0" y="1527859"/>
                      </a:lnTo>
                      <a:lnTo>
                        <a:pt x="0"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59" name="Graphic 2">
                  <a:extLst>
                    <a:ext uri="{FF2B5EF4-FFF2-40B4-BE49-F238E27FC236}">
                      <a16:creationId xmlns:a16="http://schemas.microsoft.com/office/drawing/2014/main" id="{6C3360BE-DA67-40E8-8703-7B21137BBAE7}"/>
                    </a:ext>
                  </a:extLst>
                </p:cNvPr>
                <p:cNvSpPr/>
                <p:nvPr/>
              </p:nvSpPr>
              <p:spPr>
                <a:xfrm>
                  <a:off x="5050038" y="5507799"/>
                  <a:ext cx="8738" cy="160948"/>
                </a:xfrm>
                <a:custGeom>
                  <a:avLst/>
                  <a:gdLst>
                    <a:gd name="connsiteX0" fmla="*/ 84655 w 84655"/>
                    <a:gd name="connsiteY0" fmla="*/ 1556506 h 1559284"/>
                    <a:gd name="connsiteX1" fmla="*/ 0 w 84655"/>
                    <a:gd name="connsiteY1" fmla="*/ 1559284 h 1559284"/>
                    <a:gd name="connsiteX2" fmla="*/ 0 w 84655"/>
                    <a:gd name="connsiteY2" fmla="*/ 0 h 1559284"/>
                    <a:gd name="connsiteX3" fmla="*/ 84655 w 84655"/>
                    <a:gd name="connsiteY3" fmla="*/ 39762 h 1559284"/>
                  </a:gdLst>
                  <a:ahLst/>
                  <a:cxnLst>
                    <a:cxn ang="0">
                      <a:pos x="connsiteX0" y="connsiteY0"/>
                    </a:cxn>
                    <a:cxn ang="0">
                      <a:pos x="connsiteX1" y="connsiteY1"/>
                    </a:cxn>
                    <a:cxn ang="0">
                      <a:pos x="connsiteX2" y="connsiteY2"/>
                    </a:cxn>
                    <a:cxn ang="0">
                      <a:pos x="connsiteX3" y="connsiteY3"/>
                    </a:cxn>
                  </a:cxnLst>
                  <a:rect l="l" t="t" r="r" b="b"/>
                  <a:pathLst>
                    <a:path w="84655" h="1559284">
                      <a:moveTo>
                        <a:pt x="84655" y="1556506"/>
                      </a:moveTo>
                      <a:lnTo>
                        <a:pt x="0" y="1559284"/>
                      </a:lnTo>
                      <a:lnTo>
                        <a:pt x="0" y="0"/>
                      </a:lnTo>
                      <a:lnTo>
                        <a:pt x="84655" y="39762"/>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0" name="Graphic 2">
                  <a:extLst>
                    <a:ext uri="{FF2B5EF4-FFF2-40B4-BE49-F238E27FC236}">
                      <a16:creationId xmlns:a16="http://schemas.microsoft.com/office/drawing/2014/main" id="{BEDE95E9-A769-4FBD-B934-30C6D0BACB06}"/>
                    </a:ext>
                  </a:extLst>
                </p:cNvPr>
                <p:cNvSpPr/>
                <p:nvPr/>
              </p:nvSpPr>
              <p:spPr>
                <a:xfrm>
                  <a:off x="5058777" y="5511903"/>
                  <a:ext cx="14585" cy="172467"/>
                </a:xfrm>
                <a:custGeom>
                  <a:avLst/>
                  <a:gdLst>
                    <a:gd name="connsiteX0" fmla="*/ 0 w 141306"/>
                    <a:gd name="connsiteY0" fmla="*/ 1516743 h 1670875"/>
                    <a:gd name="connsiteX1" fmla="*/ 141306 w 141306"/>
                    <a:gd name="connsiteY1" fmla="*/ 1670876 h 1670875"/>
                    <a:gd name="connsiteX2" fmla="*/ 141306 w 141306"/>
                    <a:gd name="connsiteY2" fmla="*/ 67553 h 1670875"/>
                    <a:gd name="connsiteX3" fmla="*/ 0 w 141306"/>
                    <a:gd name="connsiteY3" fmla="*/ 0 h 1670875"/>
                  </a:gdLst>
                  <a:ahLst/>
                  <a:cxnLst>
                    <a:cxn ang="0">
                      <a:pos x="connsiteX0" y="connsiteY0"/>
                    </a:cxn>
                    <a:cxn ang="0">
                      <a:pos x="connsiteX1" y="connsiteY1"/>
                    </a:cxn>
                    <a:cxn ang="0">
                      <a:pos x="connsiteX2" y="connsiteY2"/>
                    </a:cxn>
                    <a:cxn ang="0">
                      <a:pos x="connsiteX3" y="connsiteY3"/>
                    </a:cxn>
                  </a:cxnLst>
                  <a:rect l="l" t="t" r="r" b="b"/>
                  <a:pathLst>
                    <a:path w="141306" h="1670875">
                      <a:moveTo>
                        <a:pt x="0" y="1516743"/>
                      </a:moveTo>
                      <a:lnTo>
                        <a:pt x="141306" y="1670876"/>
                      </a:lnTo>
                      <a:lnTo>
                        <a:pt x="141306" y="67553"/>
                      </a:lnTo>
                      <a:lnTo>
                        <a:pt x="0"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1" name="Graphic 2">
                  <a:extLst>
                    <a:ext uri="{FF2B5EF4-FFF2-40B4-BE49-F238E27FC236}">
                      <a16:creationId xmlns:a16="http://schemas.microsoft.com/office/drawing/2014/main" id="{4FF94B6C-68B2-4915-9194-DF2B4C3686D1}"/>
                    </a:ext>
                  </a:extLst>
                </p:cNvPr>
                <p:cNvSpPr/>
                <p:nvPr/>
              </p:nvSpPr>
              <p:spPr>
                <a:xfrm>
                  <a:off x="5073362" y="5518876"/>
                  <a:ext cx="5693" cy="178579"/>
                </a:xfrm>
                <a:custGeom>
                  <a:avLst/>
                  <a:gdLst>
                    <a:gd name="connsiteX0" fmla="*/ 55154 w 55154"/>
                    <a:gd name="connsiteY0" fmla="*/ 24157 h 1730091"/>
                    <a:gd name="connsiteX1" fmla="*/ 55154 w 55154"/>
                    <a:gd name="connsiteY1" fmla="*/ 1730092 h 1730091"/>
                    <a:gd name="connsiteX2" fmla="*/ 48100 w 55154"/>
                    <a:gd name="connsiteY2" fmla="*/ 1723037 h 1730091"/>
                    <a:gd name="connsiteX3" fmla="*/ 0 w 55154"/>
                    <a:gd name="connsiteY3" fmla="*/ 1674937 h 1730091"/>
                    <a:gd name="connsiteX4" fmla="*/ 0 w 55154"/>
                    <a:gd name="connsiteY4" fmla="*/ 0 h 1730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54" h="1730091">
                      <a:moveTo>
                        <a:pt x="55154" y="24157"/>
                      </a:moveTo>
                      <a:lnTo>
                        <a:pt x="55154" y="1730092"/>
                      </a:lnTo>
                      <a:lnTo>
                        <a:pt x="48100" y="1723037"/>
                      </a:lnTo>
                      <a:lnTo>
                        <a:pt x="0" y="1674937"/>
                      </a:lnTo>
                      <a:lnTo>
                        <a:pt x="0"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2" name="Graphic 2">
                  <a:extLst>
                    <a:ext uri="{FF2B5EF4-FFF2-40B4-BE49-F238E27FC236}">
                      <a16:creationId xmlns:a16="http://schemas.microsoft.com/office/drawing/2014/main" id="{C92CB268-F915-47DD-9BD7-FA0ED8B7176E}"/>
                    </a:ext>
                  </a:extLst>
                </p:cNvPr>
                <p:cNvSpPr/>
                <p:nvPr/>
              </p:nvSpPr>
              <p:spPr>
                <a:xfrm>
                  <a:off x="5079055" y="5520089"/>
                  <a:ext cx="56003" cy="177365"/>
                </a:xfrm>
                <a:custGeom>
                  <a:avLst/>
                  <a:gdLst>
                    <a:gd name="connsiteX0" fmla="*/ 542564 w 542564"/>
                    <a:gd name="connsiteY0" fmla="*/ 0 h 1718334"/>
                    <a:gd name="connsiteX1" fmla="*/ 542564 w 542564"/>
                    <a:gd name="connsiteY1" fmla="*/ 1696529 h 1718334"/>
                    <a:gd name="connsiteX2" fmla="*/ 0 w 542564"/>
                    <a:gd name="connsiteY2" fmla="*/ 1718334 h 1718334"/>
                    <a:gd name="connsiteX3" fmla="*/ 0 w 542564"/>
                    <a:gd name="connsiteY3" fmla="*/ 12399 h 1718334"/>
                  </a:gdLst>
                  <a:ahLst/>
                  <a:cxnLst>
                    <a:cxn ang="0">
                      <a:pos x="connsiteX0" y="connsiteY0"/>
                    </a:cxn>
                    <a:cxn ang="0">
                      <a:pos x="connsiteX1" y="connsiteY1"/>
                    </a:cxn>
                    <a:cxn ang="0">
                      <a:pos x="connsiteX2" y="connsiteY2"/>
                    </a:cxn>
                    <a:cxn ang="0">
                      <a:pos x="connsiteX3" y="connsiteY3"/>
                    </a:cxn>
                  </a:cxnLst>
                  <a:rect l="l" t="t" r="r" b="b"/>
                  <a:pathLst>
                    <a:path w="542564" h="1718334">
                      <a:moveTo>
                        <a:pt x="542564" y="0"/>
                      </a:moveTo>
                      <a:lnTo>
                        <a:pt x="542564" y="1696529"/>
                      </a:lnTo>
                      <a:lnTo>
                        <a:pt x="0" y="1718334"/>
                      </a:lnTo>
                      <a:lnTo>
                        <a:pt x="0" y="12399"/>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3" name="Graphic 2">
                  <a:extLst>
                    <a:ext uri="{FF2B5EF4-FFF2-40B4-BE49-F238E27FC236}">
                      <a16:creationId xmlns:a16="http://schemas.microsoft.com/office/drawing/2014/main" id="{B33C5B53-8AE6-493C-8399-B3B927DEEEDA}"/>
                    </a:ext>
                  </a:extLst>
                </p:cNvPr>
                <p:cNvSpPr/>
                <p:nvPr/>
              </p:nvSpPr>
              <p:spPr>
                <a:xfrm>
                  <a:off x="5810710" y="5503783"/>
                  <a:ext cx="41130" cy="159205"/>
                </a:xfrm>
                <a:custGeom>
                  <a:avLst/>
                  <a:gdLst>
                    <a:gd name="connsiteX0" fmla="*/ 398479 w 398478"/>
                    <a:gd name="connsiteY0" fmla="*/ 0 h 1542396"/>
                    <a:gd name="connsiteX1" fmla="*/ 398479 w 398478"/>
                    <a:gd name="connsiteY1" fmla="*/ 1517598 h 1542396"/>
                    <a:gd name="connsiteX2" fmla="*/ 5130 w 398478"/>
                    <a:gd name="connsiteY2" fmla="*/ 1542396 h 1542396"/>
                    <a:gd name="connsiteX3" fmla="*/ 0 w 398478"/>
                    <a:gd name="connsiteY3" fmla="*/ 8979 h 1542396"/>
                  </a:gdLst>
                  <a:ahLst/>
                  <a:cxnLst>
                    <a:cxn ang="0">
                      <a:pos x="connsiteX0" y="connsiteY0"/>
                    </a:cxn>
                    <a:cxn ang="0">
                      <a:pos x="connsiteX1" y="connsiteY1"/>
                    </a:cxn>
                    <a:cxn ang="0">
                      <a:pos x="connsiteX2" y="connsiteY2"/>
                    </a:cxn>
                    <a:cxn ang="0">
                      <a:pos x="connsiteX3" y="connsiteY3"/>
                    </a:cxn>
                  </a:cxnLst>
                  <a:rect l="l" t="t" r="r" b="b"/>
                  <a:pathLst>
                    <a:path w="398478" h="1542396">
                      <a:moveTo>
                        <a:pt x="398479" y="0"/>
                      </a:moveTo>
                      <a:lnTo>
                        <a:pt x="398479" y="1517598"/>
                      </a:lnTo>
                      <a:lnTo>
                        <a:pt x="5130" y="1542396"/>
                      </a:lnTo>
                      <a:lnTo>
                        <a:pt x="0" y="8979"/>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4" name="Graphic 2">
                  <a:extLst>
                    <a:ext uri="{FF2B5EF4-FFF2-40B4-BE49-F238E27FC236}">
                      <a16:creationId xmlns:a16="http://schemas.microsoft.com/office/drawing/2014/main" id="{68F2F4A1-CE5B-479A-8DD6-5DE82EF0933B}"/>
                    </a:ext>
                  </a:extLst>
                </p:cNvPr>
                <p:cNvSpPr/>
                <p:nvPr/>
              </p:nvSpPr>
              <p:spPr>
                <a:xfrm>
                  <a:off x="5041389" y="5444492"/>
                  <a:ext cx="813011" cy="5384"/>
                </a:xfrm>
                <a:custGeom>
                  <a:avLst/>
                  <a:gdLst>
                    <a:gd name="connsiteX0" fmla="*/ 0 w 7876588"/>
                    <a:gd name="connsiteY0" fmla="*/ 0 h 52161"/>
                    <a:gd name="connsiteX1" fmla="*/ 7876589 w 7876588"/>
                    <a:gd name="connsiteY1" fmla="*/ 19026 h 52161"/>
                    <a:gd name="connsiteX2" fmla="*/ 362992 w 7876588"/>
                    <a:gd name="connsiteY2" fmla="*/ 52161 h 52161"/>
                  </a:gdLst>
                  <a:ahLst/>
                  <a:cxnLst>
                    <a:cxn ang="0">
                      <a:pos x="connsiteX0" y="connsiteY0"/>
                    </a:cxn>
                    <a:cxn ang="0">
                      <a:pos x="connsiteX1" y="connsiteY1"/>
                    </a:cxn>
                    <a:cxn ang="0">
                      <a:pos x="connsiteX2" y="connsiteY2"/>
                    </a:cxn>
                  </a:cxnLst>
                  <a:rect l="l" t="t" r="r" b="b"/>
                  <a:pathLst>
                    <a:path w="7876588" h="52161">
                      <a:moveTo>
                        <a:pt x="0" y="0"/>
                      </a:moveTo>
                      <a:lnTo>
                        <a:pt x="7876589" y="19026"/>
                      </a:lnTo>
                      <a:lnTo>
                        <a:pt x="362992" y="52161"/>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5" name="Graphic 2">
                  <a:extLst>
                    <a:ext uri="{FF2B5EF4-FFF2-40B4-BE49-F238E27FC236}">
                      <a16:creationId xmlns:a16="http://schemas.microsoft.com/office/drawing/2014/main" id="{DAC680A3-2C39-4B49-8FC6-E407B8961C98}"/>
                    </a:ext>
                  </a:extLst>
                </p:cNvPr>
                <p:cNvSpPr/>
                <p:nvPr/>
              </p:nvSpPr>
              <p:spPr>
                <a:xfrm>
                  <a:off x="5447883" y="5511859"/>
                  <a:ext cx="49317" cy="171319"/>
                </a:xfrm>
                <a:custGeom>
                  <a:avLst/>
                  <a:gdLst>
                    <a:gd name="connsiteX0" fmla="*/ 477790 w 477790"/>
                    <a:gd name="connsiteY0" fmla="*/ 0 h 1659759"/>
                    <a:gd name="connsiteX1" fmla="*/ 477790 w 477790"/>
                    <a:gd name="connsiteY1" fmla="*/ 1625555 h 1659759"/>
                    <a:gd name="connsiteX2" fmla="*/ 0 w 477790"/>
                    <a:gd name="connsiteY2" fmla="*/ 1659759 h 1659759"/>
                    <a:gd name="connsiteX3" fmla="*/ 0 w 477790"/>
                    <a:gd name="connsiteY3" fmla="*/ 10689 h 1659759"/>
                  </a:gdLst>
                  <a:ahLst/>
                  <a:cxnLst>
                    <a:cxn ang="0">
                      <a:pos x="connsiteX0" y="connsiteY0"/>
                    </a:cxn>
                    <a:cxn ang="0">
                      <a:pos x="connsiteX1" y="connsiteY1"/>
                    </a:cxn>
                    <a:cxn ang="0">
                      <a:pos x="connsiteX2" y="connsiteY2"/>
                    </a:cxn>
                    <a:cxn ang="0">
                      <a:pos x="connsiteX3" y="connsiteY3"/>
                    </a:cxn>
                  </a:cxnLst>
                  <a:rect l="l" t="t" r="r" b="b"/>
                  <a:pathLst>
                    <a:path w="477790" h="1659759">
                      <a:moveTo>
                        <a:pt x="477790" y="0"/>
                      </a:moveTo>
                      <a:lnTo>
                        <a:pt x="477790" y="1625555"/>
                      </a:lnTo>
                      <a:lnTo>
                        <a:pt x="0" y="1659759"/>
                      </a:lnTo>
                      <a:lnTo>
                        <a:pt x="0" y="10689"/>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6" name="Graphic 2">
                  <a:extLst>
                    <a:ext uri="{FF2B5EF4-FFF2-40B4-BE49-F238E27FC236}">
                      <a16:creationId xmlns:a16="http://schemas.microsoft.com/office/drawing/2014/main" id="{2A9D2EB3-916D-430F-B1B9-3C220C93CC22}"/>
                    </a:ext>
                  </a:extLst>
                </p:cNvPr>
                <p:cNvSpPr/>
                <p:nvPr/>
              </p:nvSpPr>
              <p:spPr>
                <a:xfrm>
                  <a:off x="5433871" y="5512962"/>
                  <a:ext cx="14012" cy="170216"/>
                </a:xfrm>
                <a:custGeom>
                  <a:avLst/>
                  <a:gdLst>
                    <a:gd name="connsiteX0" fmla="*/ 135748 w 135747"/>
                    <a:gd name="connsiteY0" fmla="*/ 1649071 h 1649070"/>
                    <a:gd name="connsiteX1" fmla="*/ 7482 w 135747"/>
                    <a:gd name="connsiteY1" fmla="*/ 1596054 h 1649070"/>
                    <a:gd name="connsiteX2" fmla="*/ 0 w 135747"/>
                    <a:gd name="connsiteY2" fmla="*/ 3207 h 1649070"/>
                    <a:gd name="connsiteX3" fmla="*/ 135748 w 135747"/>
                    <a:gd name="connsiteY3" fmla="*/ 0 h 1649070"/>
                  </a:gdLst>
                  <a:ahLst/>
                  <a:cxnLst>
                    <a:cxn ang="0">
                      <a:pos x="connsiteX0" y="connsiteY0"/>
                    </a:cxn>
                    <a:cxn ang="0">
                      <a:pos x="connsiteX1" y="connsiteY1"/>
                    </a:cxn>
                    <a:cxn ang="0">
                      <a:pos x="connsiteX2" y="connsiteY2"/>
                    </a:cxn>
                    <a:cxn ang="0">
                      <a:pos x="connsiteX3" y="connsiteY3"/>
                    </a:cxn>
                  </a:cxnLst>
                  <a:rect l="l" t="t" r="r" b="b"/>
                  <a:pathLst>
                    <a:path w="135747" h="1649070">
                      <a:moveTo>
                        <a:pt x="135748" y="1649071"/>
                      </a:moveTo>
                      <a:lnTo>
                        <a:pt x="7482" y="1596054"/>
                      </a:lnTo>
                      <a:lnTo>
                        <a:pt x="0" y="3207"/>
                      </a:lnTo>
                      <a:lnTo>
                        <a:pt x="135748"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7" name="Graphic 2">
                  <a:extLst>
                    <a:ext uri="{FF2B5EF4-FFF2-40B4-BE49-F238E27FC236}">
                      <a16:creationId xmlns:a16="http://schemas.microsoft.com/office/drawing/2014/main" id="{E55ECC9E-031C-4CB8-94ED-8F6E550DCEE8}"/>
                    </a:ext>
                  </a:extLst>
                </p:cNvPr>
                <p:cNvSpPr/>
                <p:nvPr/>
              </p:nvSpPr>
              <p:spPr>
                <a:xfrm>
                  <a:off x="5135058" y="5513293"/>
                  <a:ext cx="299586" cy="181911"/>
                </a:xfrm>
                <a:custGeom>
                  <a:avLst/>
                  <a:gdLst>
                    <a:gd name="connsiteX0" fmla="*/ 2902441 w 2902441"/>
                    <a:gd name="connsiteY0" fmla="*/ 1592847 h 1762371"/>
                    <a:gd name="connsiteX1" fmla="*/ 0 w 2902441"/>
                    <a:gd name="connsiteY1" fmla="*/ 1762372 h 1762371"/>
                    <a:gd name="connsiteX2" fmla="*/ 0 w 2902441"/>
                    <a:gd name="connsiteY2" fmla="*/ 65843 h 1762371"/>
                    <a:gd name="connsiteX3" fmla="*/ 2894959 w 2902441"/>
                    <a:gd name="connsiteY3" fmla="*/ 0 h 1762371"/>
                  </a:gdLst>
                  <a:ahLst/>
                  <a:cxnLst>
                    <a:cxn ang="0">
                      <a:pos x="connsiteX0" y="connsiteY0"/>
                    </a:cxn>
                    <a:cxn ang="0">
                      <a:pos x="connsiteX1" y="connsiteY1"/>
                    </a:cxn>
                    <a:cxn ang="0">
                      <a:pos x="connsiteX2" y="connsiteY2"/>
                    </a:cxn>
                    <a:cxn ang="0">
                      <a:pos x="connsiteX3" y="connsiteY3"/>
                    </a:cxn>
                  </a:cxnLst>
                  <a:rect l="l" t="t" r="r" b="b"/>
                  <a:pathLst>
                    <a:path w="2902441" h="1762371">
                      <a:moveTo>
                        <a:pt x="2902441" y="1592847"/>
                      </a:moveTo>
                      <a:lnTo>
                        <a:pt x="0" y="1762372"/>
                      </a:lnTo>
                      <a:lnTo>
                        <a:pt x="0" y="65843"/>
                      </a:lnTo>
                      <a:lnTo>
                        <a:pt x="2894959"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8" name="Graphic 2">
                  <a:extLst>
                    <a:ext uri="{FF2B5EF4-FFF2-40B4-BE49-F238E27FC236}">
                      <a16:creationId xmlns:a16="http://schemas.microsoft.com/office/drawing/2014/main" id="{6F51381A-F281-4F79-9D05-A1D2125E7754}"/>
                    </a:ext>
                  </a:extLst>
                </p:cNvPr>
                <p:cNvSpPr/>
                <p:nvPr/>
              </p:nvSpPr>
              <p:spPr>
                <a:xfrm>
                  <a:off x="5788490" y="5504710"/>
                  <a:ext cx="22750" cy="158278"/>
                </a:xfrm>
                <a:custGeom>
                  <a:avLst/>
                  <a:gdLst>
                    <a:gd name="connsiteX0" fmla="*/ 220403 w 220403"/>
                    <a:gd name="connsiteY0" fmla="*/ 1533418 h 1533417"/>
                    <a:gd name="connsiteX1" fmla="*/ 0 w 220403"/>
                    <a:gd name="connsiteY1" fmla="*/ 1466933 h 1533417"/>
                    <a:gd name="connsiteX2" fmla="*/ 0 w 220403"/>
                    <a:gd name="connsiteY2" fmla="*/ 4489 h 1533417"/>
                    <a:gd name="connsiteX3" fmla="*/ 215273 w 220403"/>
                    <a:gd name="connsiteY3" fmla="*/ 0 h 1533417"/>
                  </a:gdLst>
                  <a:ahLst/>
                  <a:cxnLst>
                    <a:cxn ang="0">
                      <a:pos x="connsiteX0" y="connsiteY0"/>
                    </a:cxn>
                    <a:cxn ang="0">
                      <a:pos x="connsiteX1" y="connsiteY1"/>
                    </a:cxn>
                    <a:cxn ang="0">
                      <a:pos x="connsiteX2" y="connsiteY2"/>
                    </a:cxn>
                    <a:cxn ang="0">
                      <a:pos x="connsiteX3" y="connsiteY3"/>
                    </a:cxn>
                  </a:cxnLst>
                  <a:rect l="l" t="t" r="r" b="b"/>
                  <a:pathLst>
                    <a:path w="220403" h="1533417">
                      <a:moveTo>
                        <a:pt x="220403" y="1533418"/>
                      </a:moveTo>
                      <a:lnTo>
                        <a:pt x="0" y="1466933"/>
                      </a:lnTo>
                      <a:lnTo>
                        <a:pt x="0" y="4489"/>
                      </a:lnTo>
                      <a:lnTo>
                        <a:pt x="215273"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69" name="Graphic 2">
                  <a:extLst>
                    <a:ext uri="{FF2B5EF4-FFF2-40B4-BE49-F238E27FC236}">
                      <a16:creationId xmlns:a16="http://schemas.microsoft.com/office/drawing/2014/main" id="{7D8090C7-4360-4020-9002-B31B50A79198}"/>
                    </a:ext>
                  </a:extLst>
                </p:cNvPr>
                <p:cNvSpPr/>
                <p:nvPr/>
              </p:nvSpPr>
              <p:spPr>
                <a:xfrm>
                  <a:off x="5109550" y="5441005"/>
                  <a:ext cx="309405" cy="4523"/>
                </a:xfrm>
                <a:custGeom>
                  <a:avLst/>
                  <a:gdLst>
                    <a:gd name="connsiteX0" fmla="*/ 0 w 2997571"/>
                    <a:gd name="connsiteY0" fmla="*/ 0 h 43824"/>
                    <a:gd name="connsiteX1" fmla="*/ 2997572 w 2997571"/>
                    <a:gd name="connsiteY1" fmla="*/ 0 h 43824"/>
                    <a:gd name="connsiteX2" fmla="*/ 2997572 w 2997571"/>
                    <a:gd name="connsiteY2" fmla="*/ 43824 h 43824"/>
                    <a:gd name="connsiteX3" fmla="*/ 0 w 2997571"/>
                    <a:gd name="connsiteY3" fmla="*/ 43824 h 43824"/>
                  </a:gdLst>
                  <a:ahLst/>
                  <a:cxnLst>
                    <a:cxn ang="0">
                      <a:pos x="connsiteX0" y="connsiteY0"/>
                    </a:cxn>
                    <a:cxn ang="0">
                      <a:pos x="connsiteX1" y="connsiteY1"/>
                    </a:cxn>
                    <a:cxn ang="0">
                      <a:pos x="connsiteX2" y="connsiteY2"/>
                    </a:cxn>
                    <a:cxn ang="0">
                      <a:pos x="connsiteX3" y="connsiteY3"/>
                    </a:cxn>
                  </a:cxnLst>
                  <a:rect l="l" t="t" r="r" b="b"/>
                  <a:pathLst>
                    <a:path w="2997571" h="43824">
                      <a:moveTo>
                        <a:pt x="0" y="0"/>
                      </a:moveTo>
                      <a:lnTo>
                        <a:pt x="2997572" y="0"/>
                      </a:lnTo>
                      <a:lnTo>
                        <a:pt x="2997572" y="43824"/>
                      </a:lnTo>
                      <a:lnTo>
                        <a:pt x="0" y="4382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0" name="Graphic 2">
                  <a:extLst>
                    <a:ext uri="{FF2B5EF4-FFF2-40B4-BE49-F238E27FC236}">
                      <a16:creationId xmlns:a16="http://schemas.microsoft.com/office/drawing/2014/main" id="{E5088741-503F-4312-8BC3-7C996900152F}"/>
                    </a:ext>
                  </a:extLst>
                </p:cNvPr>
                <p:cNvSpPr/>
                <p:nvPr/>
              </p:nvSpPr>
              <p:spPr>
                <a:xfrm>
                  <a:off x="5117184" y="5436460"/>
                  <a:ext cx="289237" cy="4523"/>
                </a:xfrm>
                <a:custGeom>
                  <a:avLst/>
                  <a:gdLst>
                    <a:gd name="connsiteX0" fmla="*/ 0 w 2802180"/>
                    <a:gd name="connsiteY0" fmla="*/ 0 h 43824"/>
                    <a:gd name="connsiteX1" fmla="*/ 2802180 w 2802180"/>
                    <a:gd name="connsiteY1" fmla="*/ 0 h 43824"/>
                    <a:gd name="connsiteX2" fmla="*/ 2802180 w 2802180"/>
                    <a:gd name="connsiteY2" fmla="*/ 43824 h 43824"/>
                    <a:gd name="connsiteX3" fmla="*/ 0 w 2802180"/>
                    <a:gd name="connsiteY3" fmla="*/ 43824 h 43824"/>
                  </a:gdLst>
                  <a:ahLst/>
                  <a:cxnLst>
                    <a:cxn ang="0">
                      <a:pos x="connsiteX0" y="connsiteY0"/>
                    </a:cxn>
                    <a:cxn ang="0">
                      <a:pos x="connsiteX1" y="connsiteY1"/>
                    </a:cxn>
                    <a:cxn ang="0">
                      <a:pos x="connsiteX2" y="connsiteY2"/>
                    </a:cxn>
                    <a:cxn ang="0">
                      <a:pos x="connsiteX3" y="connsiteY3"/>
                    </a:cxn>
                  </a:cxnLst>
                  <a:rect l="l" t="t" r="r" b="b"/>
                  <a:pathLst>
                    <a:path w="2802180" h="43824">
                      <a:moveTo>
                        <a:pt x="0" y="0"/>
                      </a:moveTo>
                      <a:lnTo>
                        <a:pt x="2802180" y="0"/>
                      </a:lnTo>
                      <a:lnTo>
                        <a:pt x="2802180" y="43824"/>
                      </a:lnTo>
                      <a:lnTo>
                        <a:pt x="0" y="4382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1" name="Graphic 2">
                  <a:extLst>
                    <a:ext uri="{FF2B5EF4-FFF2-40B4-BE49-F238E27FC236}">
                      <a16:creationId xmlns:a16="http://schemas.microsoft.com/office/drawing/2014/main" id="{5A733104-BB68-4B3A-BECB-EF6BF6D177AE}"/>
                    </a:ext>
                  </a:extLst>
                </p:cNvPr>
                <p:cNvSpPr/>
                <p:nvPr/>
              </p:nvSpPr>
              <p:spPr>
                <a:xfrm>
                  <a:off x="5125525" y="5431936"/>
                  <a:ext cx="275733" cy="4523"/>
                </a:xfrm>
                <a:custGeom>
                  <a:avLst/>
                  <a:gdLst>
                    <a:gd name="connsiteX0" fmla="*/ 0 w 2671348"/>
                    <a:gd name="connsiteY0" fmla="*/ 0 h 43824"/>
                    <a:gd name="connsiteX1" fmla="*/ 2671349 w 2671348"/>
                    <a:gd name="connsiteY1" fmla="*/ 0 h 43824"/>
                    <a:gd name="connsiteX2" fmla="*/ 2671349 w 2671348"/>
                    <a:gd name="connsiteY2" fmla="*/ 43824 h 43824"/>
                    <a:gd name="connsiteX3" fmla="*/ 0 w 2671348"/>
                    <a:gd name="connsiteY3" fmla="*/ 43824 h 43824"/>
                  </a:gdLst>
                  <a:ahLst/>
                  <a:cxnLst>
                    <a:cxn ang="0">
                      <a:pos x="connsiteX0" y="connsiteY0"/>
                    </a:cxn>
                    <a:cxn ang="0">
                      <a:pos x="connsiteX1" y="connsiteY1"/>
                    </a:cxn>
                    <a:cxn ang="0">
                      <a:pos x="connsiteX2" y="connsiteY2"/>
                    </a:cxn>
                    <a:cxn ang="0">
                      <a:pos x="connsiteX3" y="connsiteY3"/>
                    </a:cxn>
                  </a:cxnLst>
                  <a:rect l="l" t="t" r="r" b="b"/>
                  <a:pathLst>
                    <a:path w="2671348" h="43824">
                      <a:moveTo>
                        <a:pt x="0" y="0"/>
                      </a:moveTo>
                      <a:lnTo>
                        <a:pt x="2671349" y="0"/>
                      </a:lnTo>
                      <a:lnTo>
                        <a:pt x="2671349" y="43824"/>
                      </a:lnTo>
                      <a:lnTo>
                        <a:pt x="0" y="4382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2" name="Graphic 2">
                  <a:extLst>
                    <a:ext uri="{FF2B5EF4-FFF2-40B4-BE49-F238E27FC236}">
                      <a16:creationId xmlns:a16="http://schemas.microsoft.com/office/drawing/2014/main" id="{B329A414-34F9-42D4-9D2A-C95731EB2F51}"/>
                    </a:ext>
                  </a:extLst>
                </p:cNvPr>
                <p:cNvSpPr/>
                <p:nvPr/>
              </p:nvSpPr>
              <p:spPr>
                <a:xfrm>
                  <a:off x="5125525" y="5431936"/>
                  <a:ext cx="25729" cy="4523"/>
                </a:xfrm>
                <a:custGeom>
                  <a:avLst/>
                  <a:gdLst>
                    <a:gd name="connsiteX0" fmla="*/ 0 w 249263"/>
                    <a:gd name="connsiteY0" fmla="*/ 0 h 43824"/>
                    <a:gd name="connsiteX1" fmla="*/ 249263 w 249263"/>
                    <a:gd name="connsiteY1" fmla="*/ 0 h 43824"/>
                    <a:gd name="connsiteX2" fmla="*/ 249263 w 249263"/>
                    <a:gd name="connsiteY2" fmla="*/ 43824 h 43824"/>
                    <a:gd name="connsiteX3" fmla="*/ 0 w 249263"/>
                    <a:gd name="connsiteY3" fmla="*/ 43824 h 43824"/>
                  </a:gdLst>
                  <a:ahLst/>
                  <a:cxnLst>
                    <a:cxn ang="0">
                      <a:pos x="connsiteX0" y="connsiteY0"/>
                    </a:cxn>
                    <a:cxn ang="0">
                      <a:pos x="connsiteX1" y="connsiteY1"/>
                    </a:cxn>
                    <a:cxn ang="0">
                      <a:pos x="connsiteX2" y="connsiteY2"/>
                    </a:cxn>
                    <a:cxn ang="0">
                      <a:pos x="connsiteX3" y="connsiteY3"/>
                    </a:cxn>
                  </a:cxnLst>
                  <a:rect l="l" t="t" r="r" b="b"/>
                  <a:pathLst>
                    <a:path w="249263" h="43824">
                      <a:moveTo>
                        <a:pt x="0" y="0"/>
                      </a:moveTo>
                      <a:lnTo>
                        <a:pt x="249263" y="0"/>
                      </a:lnTo>
                      <a:lnTo>
                        <a:pt x="249263" y="43824"/>
                      </a:lnTo>
                      <a:lnTo>
                        <a:pt x="0" y="43824"/>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3" name="Graphic 2">
                  <a:extLst>
                    <a:ext uri="{FF2B5EF4-FFF2-40B4-BE49-F238E27FC236}">
                      <a16:creationId xmlns:a16="http://schemas.microsoft.com/office/drawing/2014/main" id="{F61C77F8-B283-4253-A21A-1C262F6C32E7}"/>
                    </a:ext>
                  </a:extLst>
                </p:cNvPr>
                <p:cNvSpPr/>
                <p:nvPr/>
              </p:nvSpPr>
              <p:spPr>
                <a:xfrm>
                  <a:off x="5117184" y="5436460"/>
                  <a:ext cx="25729" cy="4523"/>
                </a:xfrm>
                <a:custGeom>
                  <a:avLst/>
                  <a:gdLst>
                    <a:gd name="connsiteX0" fmla="*/ 0 w 249263"/>
                    <a:gd name="connsiteY0" fmla="*/ 0 h 43824"/>
                    <a:gd name="connsiteX1" fmla="*/ 249263 w 249263"/>
                    <a:gd name="connsiteY1" fmla="*/ 0 h 43824"/>
                    <a:gd name="connsiteX2" fmla="*/ 249263 w 249263"/>
                    <a:gd name="connsiteY2" fmla="*/ 43824 h 43824"/>
                    <a:gd name="connsiteX3" fmla="*/ 0 w 249263"/>
                    <a:gd name="connsiteY3" fmla="*/ 43824 h 43824"/>
                  </a:gdLst>
                  <a:ahLst/>
                  <a:cxnLst>
                    <a:cxn ang="0">
                      <a:pos x="connsiteX0" y="connsiteY0"/>
                    </a:cxn>
                    <a:cxn ang="0">
                      <a:pos x="connsiteX1" y="connsiteY1"/>
                    </a:cxn>
                    <a:cxn ang="0">
                      <a:pos x="connsiteX2" y="connsiteY2"/>
                    </a:cxn>
                    <a:cxn ang="0">
                      <a:pos x="connsiteX3" y="connsiteY3"/>
                    </a:cxn>
                  </a:cxnLst>
                  <a:rect l="l" t="t" r="r" b="b"/>
                  <a:pathLst>
                    <a:path w="249263" h="43824">
                      <a:moveTo>
                        <a:pt x="0" y="0"/>
                      </a:moveTo>
                      <a:lnTo>
                        <a:pt x="249263" y="0"/>
                      </a:lnTo>
                      <a:lnTo>
                        <a:pt x="249263" y="43824"/>
                      </a:lnTo>
                      <a:lnTo>
                        <a:pt x="0" y="43824"/>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4" name="Graphic 2">
                  <a:extLst>
                    <a:ext uri="{FF2B5EF4-FFF2-40B4-BE49-F238E27FC236}">
                      <a16:creationId xmlns:a16="http://schemas.microsoft.com/office/drawing/2014/main" id="{62C7AD1C-F25B-4230-B8E0-D617D6589C33}"/>
                    </a:ext>
                  </a:extLst>
                </p:cNvPr>
                <p:cNvSpPr/>
                <p:nvPr/>
              </p:nvSpPr>
              <p:spPr>
                <a:xfrm>
                  <a:off x="5109550" y="5441005"/>
                  <a:ext cx="25729" cy="4523"/>
                </a:xfrm>
                <a:custGeom>
                  <a:avLst/>
                  <a:gdLst>
                    <a:gd name="connsiteX0" fmla="*/ 0 w 249263"/>
                    <a:gd name="connsiteY0" fmla="*/ 0 h 43824"/>
                    <a:gd name="connsiteX1" fmla="*/ 249263 w 249263"/>
                    <a:gd name="connsiteY1" fmla="*/ 0 h 43824"/>
                    <a:gd name="connsiteX2" fmla="*/ 249263 w 249263"/>
                    <a:gd name="connsiteY2" fmla="*/ 43824 h 43824"/>
                    <a:gd name="connsiteX3" fmla="*/ 0 w 249263"/>
                    <a:gd name="connsiteY3" fmla="*/ 43824 h 43824"/>
                  </a:gdLst>
                  <a:ahLst/>
                  <a:cxnLst>
                    <a:cxn ang="0">
                      <a:pos x="connsiteX0" y="connsiteY0"/>
                    </a:cxn>
                    <a:cxn ang="0">
                      <a:pos x="connsiteX1" y="connsiteY1"/>
                    </a:cxn>
                    <a:cxn ang="0">
                      <a:pos x="connsiteX2" y="connsiteY2"/>
                    </a:cxn>
                    <a:cxn ang="0">
                      <a:pos x="connsiteX3" y="connsiteY3"/>
                    </a:cxn>
                  </a:cxnLst>
                  <a:rect l="l" t="t" r="r" b="b"/>
                  <a:pathLst>
                    <a:path w="249263" h="43824">
                      <a:moveTo>
                        <a:pt x="0" y="0"/>
                      </a:moveTo>
                      <a:lnTo>
                        <a:pt x="249263" y="0"/>
                      </a:lnTo>
                      <a:lnTo>
                        <a:pt x="249263" y="43824"/>
                      </a:lnTo>
                      <a:lnTo>
                        <a:pt x="0" y="43824"/>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5" name="Graphic 2">
                  <a:extLst>
                    <a:ext uri="{FF2B5EF4-FFF2-40B4-BE49-F238E27FC236}">
                      <a16:creationId xmlns:a16="http://schemas.microsoft.com/office/drawing/2014/main" id="{02F8A41D-0CBC-42A9-86A0-292C6D5E2A4D}"/>
                    </a:ext>
                  </a:extLst>
                </p:cNvPr>
                <p:cNvSpPr/>
                <p:nvPr/>
              </p:nvSpPr>
              <p:spPr>
                <a:xfrm>
                  <a:off x="5103857" y="5267502"/>
                  <a:ext cx="327168" cy="164435"/>
                </a:xfrm>
                <a:custGeom>
                  <a:avLst/>
                  <a:gdLst>
                    <a:gd name="connsiteX0" fmla="*/ 2681183 w 3169661"/>
                    <a:gd name="connsiteY0" fmla="*/ 1593061 h 1593060"/>
                    <a:gd name="connsiteX1" fmla="*/ 417505 w 3169661"/>
                    <a:gd name="connsiteY1" fmla="*/ 1593061 h 1593060"/>
                    <a:gd name="connsiteX2" fmla="*/ 0 w 3169661"/>
                    <a:gd name="connsiteY2" fmla="*/ 193895 h 1593060"/>
                    <a:gd name="connsiteX3" fmla="*/ 421781 w 3169661"/>
                    <a:gd name="connsiteY3" fmla="*/ 0 h 1593060"/>
                    <a:gd name="connsiteX4" fmla="*/ 3169662 w 3169661"/>
                    <a:gd name="connsiteY4" fmla="*/ 82731 h 1593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9661" h="1593060">
                      <a:moveTo>
                        <a:pt x="2681183" y="1593061"/>
                      </a:moveTo>
                      <a:lnTo>
                        <a:pt x="417505" y="1593061"/>
                      </a:lnTo>
                      <a:lnTo>
                        <a:pt x="0" y="193895"/>
                      </a:lnTo>
                      <a:lnTo>
                        <a:pt x="421781" y="0"/>
                      </a:lnTo>
                      <a:lnTo>
                        <a:pt x="3169662" y="82731"/>
                      </a:lnTo>
                      <a:close/>
                    </a:path>
                  </a:pathLst>
                </a:custGeom>
                <a:solidFill>
                  <a:srgbClr val="6D6D6D"/>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6" name="Graphic 2">
                  <a:extLst>
                    <a:ext uri="{FF2B5EF4-FFF2-40B4-BE49-F238E27FC236}">
                      <a16:creationId xmlns:a16="http://schemas.microsoft.com/office/drawing/2014/main" id="{E3AEB629-6031-4C25-A17E-7BBAE13F9785}"/>
                    </a:ext>
                  </a:extLst>
                </p:cNvPr>
                <p:cNvSpPr/>
                <p:nvPr/>
              </p:nvSpPr>
              <p:spPr>
                <a:xfrm>
                  <a:off x="5147392" y="5183078"/>
                  <a:ext cx="283633" cy="92963"/>
                </a:xfrm>
                <a:custGeom>
                  <a:avLst/>
                  <a:gdLst>
                    <a:gd name="connsiteX0" fmla="*/ 2747881 w 2747880"/>
                    <a:gd name="connsiteY0" fmla="*/ 900640 h 900639"/>
                    <a:gd name="connsiteX1" fmla="*/ 2747881 w 2747880"/>
                    <a:gd name="connsiteY1" fmla="*/ 121639 h 900639"/>
                    <a:gd name="connsiteX2" fmla="*/ 1119119 w 2747880"/>
                    <a:gd name="connsiteY2" fmla="*/ 48955 h 900639"/>
                    <a:gd name="connsiteX3" fmla="*/ 17102 w 2747880"/>
                    <a:gd name="connsiteY3" fmla="*/ 0 h 900639"/>
                    <a:gd name="connsiteX4" fmla="*/ 0 w 2747880"/>
                    <a:gd name="connsiteY4" fmla="*/ 817908 h 90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7880" h="900639">
                      <a:moveTo>
                        <a:pt x="2747881" y="900640"/>
                      </a:moveTo>
                      <a:lnTo>
                        <a:pt x="2747881" y="121639"/>
                      </a:lnTo>
                      <a:lnTo>
                        <a:pt x="1119119" y="48955"/>
                      </a:lnTo>
                      <a:lnTo>
                        <a:pt x="17102" y="0"/>
                      </a:lnTo>
                      <a:lnTo>
                        <a:pt x="0" y="817908"/>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7" name="Graphic 2">
                  <a:extLst>
                    <a:ext uri="{FF2B5EF4-FFF2-40B4-BE49-F238E27FC236}">
                      <a16:creationId xmlns:a16="http://schemas.microsoft.com/office/drawing/2014/main" id="{602E2FFB-22B8-4BCC-B815-8BF708A2D9A8}"/>
                    </a:ext>
                  </a:extLst>
                </p:cNvPr>
                <p:cNvSpPr/>
                <p:nvPr/>
              </p:nvSpPr>
              <p:spPr>
                <a:xfrm>
                  <a:off x="5262531" y="5180518"/>
                  <a:ext cx="8429" cy="7966"/>
                </a:xfrm>
                <a:custGeom>
                  <a:avLst/>
                  <a:gdLst>
                    <a:gd name="connsiteX0" fmla="*/ 0 w 81662"/>
                    <a:gd name="connsiteY0" fmla="*/ 0 h 77173"/>
                    <a:gd name="connsiteX1" fmla="*/ 81662 w 81662"/>
                    <a:gd name="connsiteY1" fmla="*/ 0 h 77173"/>
                    <a:gd name="connsiteX2" fmla="*/ 81662 w 81662"/>
                    <a:gd name="connsiteY2" fmla="*/ 77173 h 77173"/>
                    <a:gd name="connsiteX3" fmla="*/ 3634 w 81662"/>
                    <a:gd name="connsiteY3" fmla="*/ 73753 h 77173"/>
                  </a:gdLst>
                  <a:ahLst/>
                  <a:cxnLst>
                    <a:cxn ang="0">
                      <a:pos x="connsiteX0" y="connsiteY0"/>
                    </a:cxn>
                    <a:cxn ang="0">
                      <a:pos x="connsiteX1" y="connsiteY1"/>
                    </a:cxn>
                    <a:cxn ang="0">
                      <a:pos x="connsiteX2" y="connsiteY2"/>
                    </a:cxn>
                    <a:cxn ang="0">
                      <a:pos x="connsiteX3" y="connsiteY3"/>
                    </a:cxn>
                  </a:cxnLst>
                  <a:rect l="l" t="t" r="r" b="b"/>
                  <a:pathLst>
                    <a:path w="81662" h="77173">
                      <a:moveTo>
                        <a:pt x="0" y="0"/>
                      </a:moveTo>
                      <a:lnTo>
                        <a:pt x="81662" y="0"/>
                      </a:lnTo>
                      <a:lnTo>
                        <a:pt x="81662" y="77173"/>
                      </a:lnTo>
                      <a:lnTo>
                        <a:pt x="3634" y="73753"/>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8" name="Graphic 2">
                  <a:extLst>
                    <a:ext uri="{FF2B5EF4-FFF2-40B4-BE49-F238E27FC236}">
                      <a16:creationId xmlns:a16="http://schemas.microsoft.com/office/drawing/2014/main" id="{4EB48CC4-630B-4309-919A-5DE347EE6897}"/>
                    </a:ext>
                  </a:extLst>
                </p:cNvPr>
                <p:cNvSpPr/>
                <p:nvPr/>
              </p:nvSpPr>
              <p:spPr>
                <a:xfrm>
                  <a:off x="5218622" y="5144077"/>
                  <a:ext cx="102278" cy="42378"/>
                </a:xfrm>
                <a:custGeom>
                  <a:avLst/>
                  <a:gdLst>
                    <a:gd name="connsiteX0" fmla="*/ 989130 w 990891"/>
                    <a:gd name="connsiteY0" fmla="*/ 326107 h 410562"/>
                    <a:gd name="connsiteX1" fmla="*/ 454903 w 990891"/>
                    <a:gd name="connsiteY1" fmla="*/ 371213 h 410562"/>
                    <a:gd name="connsiteX2" fmla="*/ 1697 w 990891"/>
                    <a:gd name="connsiteY2" fmla="*/ 84539 h 410562"/>
                    <a:gd name="connsiteX3" fmla="*/ 8538 w 990891"/>
                    <a:gd name="connsiteY3" fmla="*/ 68079 h 410562"/>
                    <a:gd name="connsiteX4" fmla="*/ 536138 w 990891"/>
                    <a:gd name="connsiteY4" fmla="*/ 39219 h 410562"/>
                    <a:gd name="connsiteX5" fmla="*/ 990840 w 990891"/>
                    <a:gd name="connsiteY5" fmla="*/ 308149 h 410562"/>
                    <a:gd name="connsiteX6" fmla="*/ 989130 w 990891"/>
                    <a:gd name="connsiteY6" fmla="*/ 326107 h 41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891" h="410562">
                      <a:moveTo>
                        <a:pt x="989130" y="326107"/>
                      </a:moveTo>
                      <a:cubicBezTo>
                        <a:pt x="966683" y="417817"/>
                        <a:pt x="727468" y="437912"/>
                        <a:pt x="454903" y="371213"/>
                      </a:cubicBezTo>
                      <a:cubicBezTo>
                        <a:pt x="182124" y="304515"/>
                        <a:pt x="-20750" y="176249"/>
                        <a:pt x="1697" y="84539"/>
                      </a:cubicBezTo>
                      <a:cubicBezTo>
                        <a:pt x="3193" y="78767"/>
                        <a:pt x="5331" y="73423"/>
                        <a:pt x="8538" y="68079"/>
                      </a:cubicBezTo>
                      <a:cubicBezTo>
                        <a:pt x="54286" y="-9308"/>
                        <a:pt x="280461" y="-23204"/>
                        <a:pt x="536138" y="39219"/>
                      </a:cubicBezTo>
                      <a:cubicBezTo>
                        <a:pt x="791601" y="101642"/>
                        <a:pt x="985923" y="218363"/>
                        <a:pt x="990840" y="308149"/>
                      </a:cubicBezTo>
                      <a:cubicBezTo>
                        <a:pt x="991054" y="314563"/>
                        <a:pt x="990626" y="320548"/>
                        <a:pt x="989130" y="326107"/>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79" name="Graphic 2">
                  <a:extLst>
                    <a:ext uri="{FF2B5EF4-FFF2-40B4-BE49-F238E27FC236}">
                      <a16:creationId xmlns:a16="http://schemas.microsoft.com/office/drawing/2014/main" id="{092E8E89-FAC5-454A-A429-B90CC546D0EA}"/>
                    </a:ext>
                  </a:extLst>
                </p:cNvPr>
                <p:cNvSpPr/>
                <p:nvPr/>
              </p:nvSpPr>
              <p:spPr>
                <a:xfrm>
                  <a:off x="5220371" y="5144096"/>
                  <a:ext cx="99185" cy="38868"/>
                </a:xfrm>
                <a:custGeom>
                  <a:avLst/>
                  <a:gdLst>
                    <a:gd name="connsiteX0" fmla="*/ 946099 w 960921"/>
                    <a:gd name="connsiteY0" fmla="*/ 248109 h 376553"/>
                    <a:gd name="connsiteX1" fmla="*/ 921301 w 960921"/>
                    <a:gd name="connsiteY1" fmla="*/ 349225 h 376553"/>
                    <a:gd name="connsiteX2" fmla="*/ 446076 w 960921"/>
                    <a:gd name="connsiteY2" fmla="*/ 337253 h 376553"/>
                    <a:gd name="connsiteX3" fmla="*/ 9972 w 960921"/>
                    <a:gd name="connsiteY3" fmla="*/ 116422 h 376553"/>
                    <a:gd name="connsiteX4" fmla="*/ 30067 w 960921"/>
                    <a:gd name="connsiteY4" fmla="*/ 33905 h 376553"/>
                    <a:gd name="connsiteX5" fmla="*/ 518760 w 960921"/>
                    <a:gd name="connsiteY5" fmla="*/ 39249 h 376553"/>
                    <a:gd name="connsiteX6" fmla="*/ 946099 w 960921"/>
                    <a:gd name="connsiteY6" fmla="*/ 248109 h 37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0921" h="376553">
                      <a:moveTo>
                        <a:pt x="946099" y="248109"/>
                      </a:moveTo>
                      <a:cubicBezTo>
                        <a:pt x="973676" y="281885"/>
                        <a:pt x="961277" y="331909"/>
                        <a:pt x="921301" y="349225"/>
                      </a:cubicBezTo>
                      <a:cubicBezTo>
                        <a:pt x="830232" y="388346"/>
                        <a:pt x="647239" y="386422"/>
                        <a:pt x="446076" y="337253"/>
                      </a:cubicBezTo>
                      <a:cubicBezTo>
                        <a:pt x="234437" y="285520"/>
                        <a:pt x="64913" y="196589"/>
                        <a:pt x="9972" y="116422"/>
                      </a:cubicBezTo>
                      <a:cubicBezTo>
                        <a:pt x="-9268" y="88418"/>
                        <a:pt x="352" y="49938"/>
                        <a:pt x="30067" y="33905"/>
                      </a:cubicBezTo>
                      <a:cubicBezTo>
                        <a:pt x="115578" y="-11843"/>
                        <a:pt x="307121" y="-12485"/>
                        <a:pt x="518760" y="39249"/>
                      </a:cubicBezTo>
                      <a:cubicBezTo>
                        <a:pt x="720137" y="88418"/>
                        <a:pt x="883248" y="171149"/>
                        <a:pt x="946099" y="248109"/>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0" name="Graphic 2">
                  <a:extLst>
                    <a:ext uri="{FF2B5EF4-FFF2-40B4-BE49-F238E27FC236}">
                      <a16:creationId xmlns:a16="http://schemas.microsoft.com/office/drawing/2014/main" id="{DD4344AE-65E6-4AD8-8E1E-7A6E04DA048A}"/>
                    </a:ext>
                  </a:extLst>
                </p:cNvPr>
                <p:cNvSpPr/>
                <p:nvPr/>
              </p:nvSpPr>
              <p:spPr>
                <a:xfrm>
                  <a:off x="5260895" y="5136659"/>
                  <a:ext cx="16855" cy="41503"/>
                </a:xfrm>
                <a:custGeom>
                  <a:avLst/>
                  <a:gdLst>
                    <a:gd name="connsiteX0" fmla="*/ 1317 w 163298"/>
                    <a:gd name="connsiteY0" fmla="*/ 352228 h 402088"/>
                    <a:gd name="connsiteX1" fmla="*/ 108633 w 163298"/>
                    <a:gd name="connsiteY1" fmla="*/ 19379 h 402088"/>
                    <a:gd name="connsiteX2" fmla="*/ 141982 w 163298"/>
                    <a:gd name="connsiteY2" fmla="*/ 780 h 402088"/>
                    <a:gd name="connsiteX3" fmla="*/ 141982 w 163298"/>
                    <a:gd name="connsiteY3" fmla="*/ 780 h 402088"/>
                    <a:gd name="connsiteX4" fmla="*/ 162932 w 163298"/>
                    <a:gd name="connsiteY4" fmla="*/ 32419 h 402088"/>
                    <a:gd name="connsiteX5" fmla="*/ 107991 w 163298"/>
                    <a:gd name="connsiteY5" fmla="*/ 378736 h 402088"/>
                    <a:gd name="connsiteX6" fmla="*/ 79131 w 163298"/>
                    <a:gd name="connsiteY6" fmla="*/ 402038 h 402088"/>
                    <a:gd name="connsiteX7" fmla="*/ 11364 w 163298"/>
                    <a:gd name="connsiteY7" fmla="*/ 383226 h 402088"/>
                    <a:gd name="connsiteX8" fmla="*/ 1317 w 163298"/>
                    <a:gd name="connsiteY8" fmla="*/ 352228 h 40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298" h="402088">
                      <a:moveTo>
                        <a:pt x="1317" y="352228"/>
                      </a:moveTo>
                      <a:lnTo>
                        <a:pt x="108633" y="19379"/>
                      </a:lnTo>
                      <a:cubicBezTo>
                        <a:pt x="113122" y="5483"/>
                        <a:pt x="127659" y="-2640"/>
                        <a:pt x="141982" y="780"/>
                      </a:cubicBezTo>
                      <a:lnTo>
                        <a:pt x="141982" y="780"/>
                      </a:lnTo>
                      <a:cubicBezTo>
                        <a:pt x="156091" y="4200"/>
                        <a:pt x="165283" y="17882"/>
                        <a:pt x="162932" y="32419"/>
                      </a:cubicBezTo>
                      <a:lnTo>
                        <a:pt x="107991" y="378736"/>
                      </a:lnTo>
                      <a:cubicBezTo>
                        <a:pt x="105853" y="392846"/>
                        <a:pt x="93240" y="402893"/>
                        <a:pt x="79131" y="402038"/>
                      </a:cubicBezTo>
                      <a:cubicBezTo>
                        <a:pt x="58823" y="400969"/>
                        <a:pt x="30390" y="396694"/>
                        <a:pt x="11364" y="383226"/>
                      </a:cubicBezTo>
                      <a:cubicBezTo>
                        <a:pt x="1744" y="376171"/>
                        <a:pt x="-2317" y="363558"/>
                        <a:pt x="1317" y="35222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1" name="Graphic 2">
                  <a:extLst>
                    <a:ext uri="{FF2B5EF4-FFF2-40B4-BE49-F238E27FC236}">
                      <a16:creationId xmlns:a16="http://schemas.microsoft.com/office/drawing/2014/main" id="{1B8E7906-A6A0-4820-B416-06F3A3F6AFF2}"/>
                    </a:ext>
                  </a:extLst>
                </p:cNvPr>
                <p:cNvSpPr/>
                <p:nvPr/>
              </p:nvSpPr>
              <p:spPr>
                <a:xfrm>
                  <a:off x="5372772" y="5275909"/>
                  <a:ext cx="58253" cy="156028"/>
                </a:xfrm>
                <a:custGeom>
                  <a:avLst/>
                  <a:gdLst>
                    <a:gd name="connsiteX0" fmla="*/ 564370 w 564369"/>
                    <a:gd name="connsiteY0" fmla="*/ 1283 h 1511612"/>
                    <a:gd name="connsiteX1" fmla="*/ 75891 w 564369"/>
                    <a:gd name="connsiteY1" fmla="*/ 1511612 h 1511612"/>
                    <a:gd name="connsiteX2" fmla="*/ 0 w 564369"/>
                    <a:gd name="connsiteY2" fmla="*/ 1511612 h 1511612"/>
                    <a:gd name="connsiteX3" fmla="*/ 521401 w 564369"/>
                    <a:gd name="connsiteY3" fmla="*/ 0 h 1511612"/>
                  </a:gdLst>
                  <a:ahLst/>
                  <a:cxnLst>
                    <a:cxn ang="0">
                      <a:pos x="connsiteX0" y="connsiteY0"/>
                    </a:cxn>
                    <a:cxn ang="0">
                      <a:pos x="connsiteX1" y="connsiteY1"/>
                    </a:cxn>
                    <a:cxn ang="0">
                      <a:pos x="connsiteX2" y="connsiteY2"/>
                    </a:cxn>
                    <a:cxn ang="0">
                      <a:pos x="connsiteX3" y="connsiteY3"/>
                    </a:cxn>
                  </a:cxnLst>
                  <a:rect l="l" t="t" r="r" b="b"/>
                  <a:pathLst>
                    <a:path w="564369" h="1511612">
                      <a:moveTo>
                        <a:pt x="564370" y="1283"/>
                      </a:moveTo>
                      <a:lnTo>
                        <a:pt x="75891" y="1511612"/>
                      </a:lnTo>
                      <a:lnTo>
                        <a:pt x="0" y="1511612"/>
                      </a:lnTo>
                      <a:lnTo>
                        <a:pt x="521401"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2" name="Graphic 2">
                  <a:extLst>
                    <a:ext uri="{FF2B5EF4-FFF2-40B4-BE49-F238E27FC236}">
                      <a16:creationId xmlns:a16="http://schemas.microsoft.com/office/drawing/2014/main" id="{F71C232C-731A-45DD-8B8A-F8D84AEDA0A4}"/>
                    </a:ext>
                  </a:extLst>
                </p:cNvPr>
                <p:cNvSpPr/>
                <p:nvPr/>
              </p:nvSpPr>
              <p:spPr>
                <a:xfrm>
                  <a:off x="5320895" y="5294091"/>
                  <a:ext cx="33032" cy="137845"/>
                </a:xfrm>
                <a:custGeom>
                  <a:avLst/>
                  <a:gdLst>
                    <a:gd name="connsiteX0" fmla="*/ 320023 w 320023"/>
                    <a:gd name="connsiteY0" fmla="*/ 0 h 1335460"/>
                    <a:gd name="connsiteX1" fmla="*/ 69264 w 320023"/>
                    <a:gd name="connsiteY1" fmla="*/ 1335461 h 1335460"/>
                    <a:gd name="connsiteX2" fmla="*/ 0 w 320023"/>
                    <a:gd name="connsiteY2" fmla="*/ 1335461 h 1335460"/>
                    <a:gd name="connsiteX3" fmla="*/ 274489 w 320023"/>
                    <a:gd name="connsiteY3" fmla="*/ 0 h 1335460"/>
                  </a:gdLst>
                  <a:ahLst/>
                  <a:cxnLst>
                    <a:cxn ang="0">
                      <a:pos x="connsiteX0" y="connsiteY0"/>
                    </a:cxn>
                    <a:cxn ang="0">
                      <a:pos x="connsiteX1" y="connsiteY1"/>
                    </a:cxn>
                    <a:cxn ang="0">
                      <a:pos x="connsiteX2" y="connsiteY2"/>
                    </a:cxn>
                    <a:cxn ang="0">
                      <a:pos x="connsiteX3" y="connsiteY3"/>
                    </a:cxn>
                  </a:cxnLst>
                  <a:rect l="l" t="t" r="r" b="b"/>
                  <a:pathLst>
                    <a:path w="320023" h="1335460">
                      <a:moveTo>
                        <a:pt x="320023" y="0"/>
                      </a:moveTo>
                      <a:lnTo>
                        <a:pt x="69264" y="1335461"/>
                      </a:lnTo>
                      <a:lnTo>
                        <a:pt x="0" y="1335461"/>
                      </a:lnTo>
                      <a:lnTo>
                        <a:pt x="274489"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3" name="Graphic 2">
                  <a:extLst>
                    <a:ext uri="{FF2B5EF4-FFF2-40B4-BE49-F238E27FC236}">
                      <a16:creationId xmlns:a16="http://schemas.microsoft.com/office/drawing/2014/main" id="{4276381C-5963-4A24-8501-20BF3458DF8C}"/>
                    </a:ext>
                  </a:extLst>
                </p:cNvPr>
                <p:cNvSpPr/>
                <p:nvPr/>
              </p:nvSpPr>
              <p:spPr>
                <a:xfrm>
                  <a:off x="5351677" y="5273658"/>
                  <a:ext cx="74913" cy="21205"/>
                </a:xfrm>
                <a:custGeom>
                  <a:avLst/>
                  <a:gdLst>
                    <a:gd name="connsiteX0" fmla="*/ 725771 w 725770"/>
                    <a:gd name="connsiteY0" fmla="*/ 21805 h 205438"/>
                    <a:gd name="connsiteX1" fmla="*/ 0 w 725770"/>
                    <a:gd name="connsiteY1" fmla="*/ 205439 h 205438"/>
                    <a:gd name="connsiteX2" fmla="*/ 0 w 725770"/>
                    <a:gd name="connsiteY2" fmla="*/ 0 h 205438"/>
                  </a:gdLst>
                  <a:ahLst/>
                  <a:cxnLst>
                    <a:cxn ang="0">
                      <a:pos x="connsiteX0" y="connsiteY0"/>
                    </a:cxn>
                    <a:cxn ang="0">
                      <a:pos x="connsiteX1" y="connsiteY1"/>
                    </a:cxn>
                    <a:cxn ang="0">
                      <a:pos x="connsiteX2" y="connsiteY2"/>
                    </a:cxn>
                  </a:cxnLst>
                  <a:rect l="l" t="t" r="r" b="b"/>
                  <a:pathLst>
                    <a:path w="725770" h="205438">
                      <a:moveTo>
                        <a:pt x="725771" y="21805"/>
                      </a:moveTo>
                      <a:lnTo>
                        <a:pt x="0" y="205439"/>
                      </a:lnTo>
                      <a:lnTo>
                        <a:pt x="0"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4" name="Graphic 2">
                  <a:extLst>
                    <a:ext uri="{FF2B5EF4-FFF2-40B4-BE49-F238E27FC236}">
                      <a16:creationId xmlns:a16="http://schemas.microsoft.com/office/drawing/2014/main" id="{C6BA7E1F-0BFE-4D0A-B9F4-76DC27E6ABB1}"/>
                    </a:ext>
                  </a:extLst>
                </p:cNvPr>
                <p:cNvSpPr/>
                <p:nvPr/>
              </p:nvSpPr>
              <p:spPr>
                <a:xfrm>
                  <a:off x="5103857" y="5267502"/>
                  <a:ext cx="247820" cy="27362"/>
                </a:xfrm>
                <a:custGeom>
                  <a:avLst/>
                  <a:gdLst>
                    <a:gd name="connsiteX0" fmla="*/ 0 w 2400921"/>
                    <a:gd name="connsiteY0" fmla="*/ 193895 h 265082"/>
                    <a:gd name="connsiteX1" fmla="*/ 2400922 w 2400921"/>
                    <a:gd name="connsiteY1" fmla="*/ 265083 h 265082"/>
                    <a:gd name="connsiteX2" fmla="*/ 2400922 w 2400921"/>
                    <a:gd name="connsiteY2" fmla="*/ 59644 h 265082"/>
                    <a:gd name="connsiteX3" fmla="*/ 421781 w 2400921"/>
                    <a:gd name="connsiteY3" fmla="*/ 0 h 265082"/>
                  </a:gdLst>
                  <a:ahLst/>
                  <a:cxnLst>
                    <a:cxn ang="0">
                      <a:pos x="connsiteX0" y="connsiteY0"/>
                    </a:cxn>
                    <a:cxn ang="0">
                      <a:pos x="connsiteX1" y="connsiteY1"/>
                    </a:cxn>
                    <a:cxn ang="0">
                      <a:pos x="connsiteX2" y="connsiteY2"/>
                    </a:cxn>
                    <a:cxn ang="0">
                      <a:pos x="connsiteX3" y="connsiteY3"/>
                    </a:cxn>
                  </a:cxnLst>
                  <a:rect l="l" t="t" r="r" b="b"/>
                  <a:pathLst>
                    <a:path w="2400921" h="265082">
                      <a:moveTo>
                        <a:pt x="0" y="193895"/>
                      </a:moveTo>
                      <a:lnTo>
                        <a:pt x="2400922" y="265083"/>
                      </a:lnTo>
                      <a:lnTo>
                        <a:pt x="2400922" y="59644"/>
                      </a:lnTo>
                      <a:lnTo>
                        <a:pt x="421781"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5" name="Graphic 2">
                  <a:extLst>
                    <a:ext uri="{FF2B5EF4-FFF2-40B4-BE49-F238E27FC236}">
                      <a16:creationId xmlns:a16="http://schemas.microsoft.com/office/drawing/2014/main" id="{9C6122C0-C866-4036-AFA7-35518F22CFC5}"/>
                    </a:ext>
                  </a:extLst>
                </p:cNvPr>
                <p:cNvSpPr/>
                <p:nvPr/>
              </p:nvSpPr>
              <p:spPr>
                <a:xfrm>
                  <a:off x="5147392" y="5267502"/>
                  <a:ext cx="39917" cy="164435"/>
                </a:xfrm>
                <a:custGeom>
                  <a:avLst/>
                  <a:gdLst>
                    <a:gd name="connsiteX0" fmla="*/ 0 w 386721"/>
                    <a:gd name="connsiteY0" fmla="*/ 0 h 1593060"/>
                    <a:gd name="connsiteX1" fmla="*/ 307838 w 386721"/>
                    <a:gd name="connsiteY1" fmla="*/ 1493655 h 1593060"/>
                    <a:gd name="connsiteX2" fmla="*/ 307838 w 386721"/>
                    <a:gd name="connsiteY2" fmla="*/ 1593061 h 1593060"/>
                    <a:gd name="connsiteX3" fmla="*/ 386721 w 386721"/>
                    <a:gd name="connsiteY3" fmla="*/ 1593061 h 1593060"/>
                    <a:gd name="connsiteX4" fmla="*/ 368764 w 386721"/>
                    <a:gd name="connsiteY4" fmla="*/ 1464154 h 1593060"/>
                    <a:gd name="connsiteX5" fmla="*/ 54299 w 386721"/>
                    <a:gd name="connsiteY5" fmla="*/ 1710 h 1593060"/>
                    <a:gd name="connsiteX6" fmla="*/ 0 w 386721"/>
                    <a:gd name="connsiteY6" fmla="*/ 0 h 1593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6721" h="1593060">
                      <a:moveTo>
                        <a:pt x="0" y="0"/>
                      </a:moveTo>
                      <a:cubicBezTo>
                        <a:pt x="0" y="0"/>
                        <a:pt x="305059" y="1459451"/>
                        <a:pt x="307838" y="1493655"/>
                      </a:cubicBezTo>
                      <a:cubicBezTo>
                        <a:pt x="310617" y="1527859"/>
                        <a:pt x="307838" y="1593061"/>
                        <a:pt x="307838" y="1593061"/>
                      </a:cubicBezTo>
                      <a:lnTo>
                        <a:pt x="386721" y="1593061"/>
                      </a:lnTo>
                      <a:cubicBezTo>
                        <a:pt x="386721" y="1593061"/>
                        <a:pt x="382018" y="1536410"/>
                        <a:pt x="368764" y="1464154"/>
                      </a:cubicBezTo>
                      <a:cubicBezTo>
                        <a:pt x="355510" y="1391898"/>
                        <a:pt x="54299" y="1710"/>
                        <a:pt x="54299" y="1710"/>
                      </a:cubicBezTo>
                      <a:lnTo>
                        <a:pt x="0"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6" name="Graphic 2">
                  <a:extLst>
                    <a:ext uri="{FF2B5EF4-FFF2-40B4-BE49-F238E27FC236}">
                      <a16:creationId xmlns:a16="http://schemas.microsoft.com/office/drawing/2014/main" id="{CD9B469C-BBE2-44F0-B679-235C1CB39B03}"/>
                    </a:ext>
                  </a:extLst>
                </p:cNvPr>
                <p:cNvSpPr/>
                <p:nvPr/>
              </p:nvSpPr>
              <p:spPr>
                <a:xfrm>
                  <a:off x="5103857" y="5285618"/>
                  <a:ext cx="47419" cy="146319"/>
                </a:xfrm>
                <a:custGeom>
                  <a:avLst/>
                  <a:gdLst>
                    <a:gd name="connsiteX0" fmla="*/ 402755 w 459405"/>
                    <a:gd name="connsiteY0" fmla="*/ 1417551 h 1417550"/>
                    <a:gd name="connsiteX1" fmla="*/ 0 w 459405"/>
                    <a:gd name="connsiteY1" fmla="*/ 18385 h 1417550"/>
                    <a:gd name="connsiteX2" fmla="*/ 39976 w 459405"/>
                    <a:gd name="connsiteY2" fmla="*/ 0 h 1417550"/>
                    <a:gd name="connsiteX3" fmla="*/ 439097 w 459405"/>
                    <a:gd name="connsiteY3" fmla="*/ 1296340 h 1417550"/>
                    <a:gd name="connsiteX4" fmla="*/ 459405 w 459405"/>
                    <a:gd name="connsiteY4" fmla="*/ 1417551 h 1417550"/>
                    <a:gd name="connsiteX5" fmla="*/ 402755 w 459405"/>
                    <a:gd name="connsiteY5" fmla="*/ 1417551 h 14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9405" h="1417550">
                      <a:moveTo>
                        <a:pt x="402755" y="1417551"/>
                      </a:moveTo>
                      <a:lnTo>
                        <a:pt x="0" y="18385"/>
                      </a:lnTo>
                      <a:lnTo>
                        <a:pt x="39976" y="0"/>
                      </a:lnTo>
                      <a:cubicBezTo>
                        <a:pt x="39976" y="0"/>
                        <a:pt x="423705" y="1241185"/>
                        <a:pt x="439097" y="1296340"/>
                      </a:cubicBezTo>
                      <a:cubicBezTo>
                        <a:pt x="454275" y="1351494"/>
                        <a:pt x="459405" y="1417551"/>
                        <a:pt x="459405" y="1417551"/>
                      </a:cubicBezTo>
                      <a:lnTo>
                        <a:pt x="402755" y="1417551"/>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7" name="Graphic 2">
                  <a:extLst>
                    <a:ext uri="{FF2B5EF4-FFF2-40B4-BE49-F238E27FC236}">
                      <a16:creationId xmlns:a16="http://schemas.microsoft.com/office/drawing/2014/main" id="{41684364-0E46-43C7-9CDD-83CC93BCEFC0}"/>
                    </a:ext>
                  </a:extLst>
                </p:cNvPr>
                <p:cNvSpPr/>
                <p:nvPr/>
              </p:nvSpPr>
              <p:spPr>
                <a:xfrm>
                  <a:off x="5207213" y="5411371"/>
                  <a:ext cx="101877" cy="20565"/>
                </a:xfrm>
                <a:custGeom>
                  <a:avLst/>
                  <a:gdLst>
                    <a:gd name="connsiteX0" fmla="*/ 0 w 987005"/>
                    <a:gd name="connsiteY0" fmla="*/ 0 h 199239"/>
                    <a:gd name="connsiteX1" fmla="*/ 0 w 987005"/>
                    <a:gd name="connsiteY1" fmla="*/ 199239 h 199239"/>
                    <a:gd name="connsiteX2" fmla="*/ 987005 w 987005"/>
                    <a:gd name="connsiteY2" fmla="*/ 199239 h 199239"/>
                    <a:gd name="connsiteX3" fmla="*/ 984440 w 987005"/>
                    <a:gd name="connsiteY3" fmla="*/ 0 h 199239"/>
                  </a:gdLst>
                  <a:ahLst/>
                  <a:cxnLst>
                    <a:cxn ang="0">
                      <a:pos x="connsiteX0" y="connsiteY0"/>
                    </a:cxn>
                    <a:cxn ang="0">
                      <a:pos x="connsiteX1" y="connsiteY1"/>
                    </a:cxn>
                    <a:cxn ang="0">
                      <a:pos x="connsiteX2" y="connsiteY2"/>
                    </a:cxn>
                    <a:cxn ang="0">
                      <a:pos x="connsiteX3" y="connsiteY3"/>
                    </a:cxn>
                  </a:cxnLst>
                  <a:rect l="l" t="t" r="r" b="b"/>
                  <a:pathLst>
                    <a:path w="987005" h="199239">
                      <a:moveTo>
                        <a:pt x="0" y="0"/>
                      </a:moveTo>
                      <a:lnTo>
                        <a:pt x="0" y="199239"/>
                      </a:lnTo>
                      <a:lnTo>
                        <a:pt x="987005" y="199239"/>
                      </a:lnTo>
                      <a:lnTo>
                        <a:pt x="984440"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8" name="Graphic 2">
                  <a:extLst>
                    <a:ext uri="{FF2B5EF4-FFF2-40B4-BE49-F238E27FC236}">
                      <a16:creationId xmlns:a16="http://schemas.microsoft.com/office/drawing/2014/main" id="{772820BE-CC28-4F43-9B24-7ABE99673B2C}"/>
                    </a:ext>
                  </a:extLst>
                </p:cNvPr>
                <p:cNvSpPr/>
                <p:nvPr/>
              </p:nvSpPr>
              <p:spPr>
                <a:xfrm>
                  <a:off x="5050634" y="5401419"/>
                  <a:ext cx="14078" cy="21073"/>
                </a:xfrm>
                <a:custGeom>
                  <a:avLst/>
                  <a:gdLst>
                    <a:gd name="connsiteX0" fmla="*/ 68195 w 136389"/>
                    <a:gd name="connsiteY0" fmla="*/ 204156 h 204156"/>
                    <a:gd name="connsiteX1" fmla="*/ 68195 w 136389"/>
                    <a:gd name="connsiteY1" fmla="*/ 204156 h 204156"/>
                    <a:gd name="connsiteX2" fmla="*/ 0 w 136389"/>
                    <a:gd name="connsiteY2" fmla="*/ 135962 h 204156"/>
                    <a:gd name="connsiteX3" fmla="*/ 0 w 136389"/>
                    <a:gd name="connsiteY3" fmla="*/ 68195 h 204156"/>
                    <a:gd name="connsiteX4" fmla="*/ 68195 w 136389"/>
                    <a:gd name="connsiteY4" fmla="*/ 0 h 204156"/>
                    <a:gd name="connsiteX5" fmla="*/ 68195 w 136389"/>
                    <a:gd name="connsiteY5" fmla="*/ 0 h 204156"/>
                    <a:gd name="connsiteX6" fmla="*/ 136389 w 136389"/>
                    <a:gd name="connsiteY6" fmla="*/ 68195 h 204156"/>
                    <a:gd name="connsiteX7" fmla="*/ 136389 w 136389"/>
                    <a:gd name="connsiteY7" fmla="*/ 135962 h 204156"/>
                    <a:gd name="connsiteX8" fmla="*/ 68195 w 136389"/>
                    <a:gd name="connsiteY8" fmla="*/ 204156 h 204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389" h="204156">
                      <a:moveTo>
                        <a:pt x="68195" y="204156"/>
                      </a:moveTo>
                      <a:lnTo>
                        <a:pt x="68195" y="204156"/>
                      </a:lnTo>
                      <a:cubicBezTo>
                        <a:pt x="30570" y="204156"/>
                        <a:pt x="0" y="173586"/>
                        <a:pt x="0" y="135962"/>
                      </a:cubicBezTo>
                      <a:lnTo>
                        <a:pt x="0" y="68195"/>
                      </a:lnTo>
                      <a:cubicBezTo>
                        <a:pt x="0" y="30570"/>
                        <a:pt x="30570" y="0"/>
                        <a:pt x="68195" y="0"/>
                      </a:cubicBezTo>
                      <a:lnTo>
                        <a:pt x="68195" y="0"/>
                      </a:lnTo>
                      <a:cubicBezTo>
                        <a:pt x="105819" y="0"/>
                        <a:pt x="136389" y="30570"/>
                        <a:pt x="136389" y="68195"/>
                      </a:cubicBezTo>
                      <a:lnTo>
                        <a:pt x="136389" y="135962"/>
                      </a:lnTo>
                      <a:cubicBezTo>
                        <a:pt x="136176" y="173586"/>
                        <a:pt x="105819" y="204156"/>
                        <a:pt x="68195" y="204156"/>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89" name="Graphic 2">
                  <a:extLst>
                    <a:ext uri="{FF2B5EF4-FFF2-40B4-BE49-F238E27FC236}">
                      <a16:creationId xmlns:a16="http://schemas.microsoft.com/office/drawing/2014/main" id="{89911063-04DE-419D-A4EC-B7D5A6DFA4F5}"/>
                    </a:ext>
                  </a:extLst>
                </p:cNvPr>
                <p:cNvSpPr/>
                <p:nvPr/>
              </p:nvSpPr>
              <p:spPr>
                <a:xfrm>
                  <a:off x="5051031" y="5441778"/>
                  <a:ext cx="13085" cy="3751"/>
                </a:xfrm>
                <a:custGeom>
                  <a:avLst/>
                  <a:gdLst>
                    <a:gd name="connsiteX0" fmla="*/ 0 w 126769"/>
                    <a:gd name="connsiteY0" fmla="*/ 0 h 36341"/>
                    <a:gd name="connsiteX1" fmla="*/ 126769 w 126769"/>
                    <a:gd name="connsiteY1" fmla="*/ 0 h 36341"/>
                    <a:gd name="connsiteX2" fmla="*/ 126769 w 126769"/>
                    <a:gd name="connsiteY2" fmla="*/ 36342 h 36341"/>
                    <a:gd name="connsiteX3" fmla="*/ 0 w 126769"/>
                    <a:gd name="connsiteY3" fmla="*/ 36342 h 36341"/>
                  </a:gdLst>
                  <a:ahLst/>
                  <a:cxnLst>
                    <a:cxn ang="0">
                      <a:pos x="connsiteX0" y="connsiteY0"/>
                    </a:cxn>
                    <a:cxn ang="0">
                      <a:pos x="connsiteX1" y="connsiteY1"/>
                    </a:cxn>
                    <a:cxn ang="0">
                      <a:pos x="connsiteX2" y="connsiteY2"/>
                    </a:cxn>
                    <a:cxn ang="0">
                      <a:pos x="connsiteX3" y="connsiteY3"/>
                    </a:cxn>
                  </a:cxnLst>
                  <a:rect l="l" t="t" r="r" b="b"/>
                  <a:pathLst>
                    <a:path w="126769" h="36341">
                      <a:moveTo>
                        <a:pt x="0" y="0"/>
                      </a:moveTo>
                      <a:lnTo>
                        <a:pt x="126769" y="0"/>
                      </a:lnTo>
                      <a:lnTo>
                        <a:pt x="126769" y="36342"/>
                      </a:lnTo>
                      <a:lnTo>
                        <a:pt x="0" y="36342"/>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0" name="Graphic 2">
                  <a:extLst>
                    <a:ext uri="{FF2B5EF4-FFF2-40B4-BE49-F238E27FC236}">
                      <a16:creationId xmlns:a16="http://schemas.microsoft.com/office/drawing/2014/main" id="{0A031D1D-3DC9-4213-9D9A-993FAFE4B735}"/>
                    </a:ext>
                  </a:extLst>
                </p:cNvPr>
                <p:cNvSpPr/>
                <p:nvPr/>
              </p:nvSpPr>
              <p:spPr>
                <a:xfrm rot="5400000">
                  <a:off x="5045806" y="5428004"/>
                  <a:ext cx="23500" cy="4060"/>
                </a:xfrm>
                <a:custGeom>
                  <a:avLst/>
                  <a:gdLst>
                    <a:gd name="connsiteX0" fmla="*/ 0 w 227671"/>
                    <a:gd name="connsiteY0" fmla="*/ 0 h 39334"/>
                    <a:gd name="connsiteX1" fmla="*/ 227672 w 227671"/>
                    <a:gd name="connsiteY1" fmla="*/ 0 h 39334"/>
                    <a:gd name="connsiteX2" fmla="*/ 227672 w 227671"/>
                    <a:gd name="connsiteY2" fmla="*/ 39335 h 39334"/>
                    <a:gd name="connsiteX3" fmla="*/ 0 w 227671"/>
                    <a:gd name="connsiteY3" fmla="*/ 39335 h 39334"/>
                  </a:gdLst>
                  <a:ahLst/>
                  <a:cxnLst>
                    <a:cxn ang="0">
                      <a:pos x="connsiteX0" y="connsiteY0"/>
                    </a:cxn>
                    <a:cxn ang="0">
                      <a:pos x="connsiteX1" y="connsiteY1"/>
                    </a:cxn>
                    <a:cxn ang="0">
                      <a:pos x="connsiteX2" y="connsiteY2"/>
                    </a:cxn>
                    <a:cxn ang="0">
                      <a:pos x="connsiteX3" y="connsiteY3"/>
                    </a:cxn>
                  </a:cxnLst>
                  <a:rect l="l" t="t" r="r" b="b"/>
                  <a:pathLst>
                    <a:path w="227671" h="39334">
                      <a:moveTo>
                        <a:pt x="0" y="0"/>
                      </a:moveTo>
                      <a:lnTo>
                        <a:pt x="227672" y="0"/>
                      </a:lnTo>
                      <a:lnTo>
                        <a:pt x="227672" y="39335"/>
                      </a:lnTo>
                      <a:lnTo>
                        <a:pt x="0" y="39335"/>
                      </a:lnTo>
                      <a:close/>
                    </a:path>
                  </a:pathLst>
                </a:custGeom>
                <a:solidFill>
                  <a:srgbClr val="052F49"/>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1" name="Graphic 2">
                  <a:extLst>
                    <a:ext uri="{FF2B5EF4-FFF2-40B4-BE49-F238E27FC236}">
                      <a16:creationId xmlns:a16="http://schemas.microsoft.com/office/drawing/2014/main" id="{7AF262C7-D617-4717-8193-FCE159F27023}"/>
                    </a:ext>
                  </a:extLst>
                </p:cNvPr>
                <p:cNvSpPr/>
                <p:nvPr/>
              </p:nvSpPr>
              <p:spPr>
                <a:xfrm>
                  <a:off x="5085211" y="5399080"/>
                  <a:ext cx="15976" cy="23919"/>
                </a:xfrm>
                <a:custGeom>
                  <a:avLst/>
                  <a:gdLst>
                    <a:gd name="connsiteX0" fmla="*/ 77387 w 154774"/>
                    <a:gd name="connsiteY0" fmla="*/ 231733 h 231733"/>
                    <a:gd name="connsiteX1" fmla="*/ 77387 w 154774"/>
                    <a:gd name="connsiteY1" fmla="*/ 231733 h 231733"/>
                    <a:gd name="connsiteX2" fmla="*/ 0 w 154774"/>
                    <a:gd name="connsiteY2" fmla="*/ 154346 h 231733"/>
                    <a:gd name="connsiteX3" fmla="*/ 0 w 154774"/>
                    <a:gd name="connsiteY3" fmla="*/ 77387 h 231733"/>
                    <a:gd name="connsiteX4" fmla="*/ 77387 w 154774"/>
                    <a:gd name="connsiteY4" fmla="*/ 0 h 231733"/>
                    <a:gd name="connsiteX5" fmla="*/ 77387 w 154774"/>
                    <a:gd name="connsiteY5" fmla="*/ 0 h 231733"/>
                    <a:gd name="connsiteX6" fmla="*/ 154774 w 154774"/>
                    <a:gd name="connsiteY6" fmla="*/ 77387 h 231733"/>
                    <a:gd name="connsiteX7" fmla="*/ 154774 w 154774"/>
                    <a:gd name="connsiteY7" fmla="*/ 154346 h 231733"/>
                    <a:gd name="connsiteX8" fmla="*/ 77387 w 154774"/>
                    <a:gd name="connsiteY8" fmla="*/ 231733 h 23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4774" h="231733">
                      <a:moveTo>
                        <a:pt x="77387" y="231733"/>
                      </a:moveTo>
                      <a:lnTo>
                        <a:pt x="77387" y="231733"/>
                      </a:lnTo>
                      <a:cubicBezTo>
                        <a:pt x="34632" y="231733"/>
                        <a:pt x="0" y="197102"/>
                        <a:pt x="0" y="154346"/>
                      </a:cubicBezTo>
                      <a:lnTo>
                        <a:pt x="0" y="77387"/>
                      </a:lnTo>
                      <a:cubicBezTo>
                        <a:pt x="0" y="34632"/>
                        <a:pt x="34632" y="0"/>
                        <a:pt x="77387" y="0"/>
                      </a:cubicBezTo>
                      <a:lnTo>
                        <a:pt x="77387" y="0"/>
                      </a:lnTo>
                      <a:cubicBezTo>
                        <a:pt x="120142" y="0"/>
                        <a:pt x="154774" y="34632"/>
                        <a:pt x="154774" y="77387"/>
                      </a:cubicBezTo>
                      <a:lnTo>
                        <a:pt x="154774" y="154346"/>
                      </a:lnTo>
                      <a:cubicBezTo>
                        <a:pt x="154560" y="197102"/>
                        <a:pt x="119929" y="231733"/>
                        <a:pt x="77387" y="231733"/>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2" name="Graphic 2">
                  <a:extLst>
                    <a:ext uri="{FF2B5EF4-FFF2-40B4-BE49-F238E27FC236}">
                      <a16:creationId xmlns:a16="http://schemas.microsoft.com/office/drawing/2014/main" id="{624B7DEB-514B-429C-BC4E-905529BFE83D}"/>
                    </a:ext>
                  </a:extLst>
                </p:cNvPr>
                <p:cNvSpPr/>
                <p:nvPr/>
              </p:nvSpPr>
              <p:spPr>
                <a:xfrm>
                  <a:off x="5085653" y="5444933"/>
                  <a:ext cx="14850" cy="4259"/>
                </a:xfrm>
                <a:custGeom>
                  <a:avLst/>
                  <a:gdLst>
                    <a:gd name="connsiteX0" fmla="*/ 0 w 143871"/>
                    <a:gd name="connsiteY0" fmla="*/ 0 h 41258"/>
                    <a:gd name="connsiteX1" fmla="*/ 143871 w 143871"/>
                    <a:gd name="connsiteY1" fmla="*/ 0 h 41258"/>
                    <a:gd name="connsiteX2" fmla="*/ 143871 w 143871"/>
                    <a:gd name="connsiteY2" fmla="*/ 41259 h 41258"/>
                    <a:gd name="connsiteX3" fmla="*/ 0 w 143871"/>
                    <a:gd name="connsiteY3" fmla="*/ 41259 h 41258"/>
                  </a:gdLst>
                  <a:ahLst/>
                  <a:cxnLst>
                    <a:cxn ang="0">
                      <a:pos x="connsiteX0" y="connsiteY0"/>
                    </a:cxn>
                    <a:cxn ang="0">
                      <a:pos x="connsiteX1" y="connsiteY1"/>
                    </a:cxn>
                    <a:cxn ang="0">
                      <a:pos x="connsiteX2" y="connsiteY2"/>
                    </a:cxn>
                    <a:cxn ang="0">
                      <a:pos x="connsiteX3" y="connsiteY3"/>
                    </a:cxn>
                  </a:cxnLst>
                  <a:rect l="l" t="t" r="r" b="b"/>
                  <a:pathLst>
                    <a:path w="143871" h="41258">
                      <a:moveTo>
                        <a:pt x="0" y="0"/>
                      </a:moveTo>
                      <a:lnTo>
                        <a:pt x="143871" y="0"/>
                      </a:lnTo>
                      <a:lnTo>
                        <a:pt x="143871" y="41259"/>
                      </a:lnTo>
                      <a:lnTo>
                        <a:pt x="0" y="41259"/>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3" name="Graphic 2">
                  <a:extLst>
                    <a:ext uri="{FF2B5EF4-FFF2-40B4-BE49-F238E27FC236}">
                      <a16:creationId xmlns:a16="http://schemas.microsoft.com/office/drawing/2014/main" id="{CFADC863-FA79-49B9-A3A3-326303048BC9}"/>
                    </a:ext>
                  </a:extLst>
                </p:cNvPr>
                <p:cNvSpPr/>
                <p:nvPr/>
              </p:nvSpPr>
              <p:spPr>
                <a:xfrm rot="5400000">
                  <a:off x="5079717" y="5429269"/>
                  <a:ext cx="26722" cy="4612"/>
                </a:xfrm>
                <a:custGeom>
                  <a:avLst/>
                  <a:gdLst>
                    <a:gd name="connsiteX0" fmla="*/ 0 w 258883"/>
                    <a:gd name="connsiteY0" fmla="*/ 0 h 44679"/>
                    <a:gd name="connsiteX1" fmla="*/ 258883 w 258883"/>
                    <a:gd name="connsiteY1" fmla="*/ 0 h 44679"/>
                    <a:gd name="connsiteX2" fmla="*/ 258883 w 258883"/>
                    <a:gd name="connsiteY2" fmla="*/ 44679 h 44679"/>
                    <a:gd name="connsiteX3" fmla="*/ 0 w 258883"/>
                    <a:gd name="connsiteY3" fmla="*/ 44679 h 44679"/>
                  </a:gdLst>
                  <a:ahLst/>
                  <a:cxnLst>
                    <a:cxn ang="0">
                      <a:pos x="connsiteX0" y="connsiteY0"/>
                    </a:cxn>
                    <a:cxn ang="0">
                      <a:pos x="connsiteX1" y="connsiteY1"/>
                    </a:cxn>
                    <a:cxn ang="0">
                      <a:pos x="connsiteX2" y="connsiteY2"/>
                    </a:cxn>
                    <a:cxn ang="0">
                      <a:pos x="connsiteX3" y="connsiteY3"/>
                    </a:cxn>
                  </a:cxnLst>
                  <a:rect l="l" t="t" r="r" b="b"/>
                  <a:pathLst>
                    <a:path w="258883" h="44679">
                      <a:moveTo>
                        <a:pt x="0" y="0"/>
                      </a:moveTo>
                      <a:lnTo>
                        <a:pt x="258883" y="0"/>
                      </a:lnTo>
                      <a:lnTo>
                        <a:pt x="258883" y="44679"/>
                      </a:lnTo>
                      <a:lnTo>
                        <a:pt x="0" y="44679"/>
                      </a:lnTo>
                      <a:close/>
                    </a:path>
                  </a:pathLst>
                </a:custGeom>
                <a:solidFill>
                  <a:srgbClr val="052F49"/>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4" name="Graphic 2">
                  <a:extLst>
                    <a:ext uri="{FF2B5EF4-FFF2-40B4-BE49-F238E27FC236}">
                      <a16:creationId xmlns:a16="http://schemas.microsoft.com/office/drawing/2014/main" id="{26286EFA-C33F-4CC7-A0FA-A5B14BD35AEC}"/>
                    </a:ext>
                  </a:extLst>
                </p:cNvPr>
                <p:cNvSpPr/>
                <p:nvPr/>
              </p:nvSpPr>
              <p:spPr>
                <a:xfrm>
                  <a:off x="5460836" y="5401375"/>
                  <a:ext cx="14122" cy="21139"/>
                </a:xfrm>
                <a:custGeom>
                  <a:avLst/>
                  <a:gdLst>
                    <a:gd name="connsiteX0" fmla="*/ 68408 w 136816"/>
                    <a:gd name="connsiteY0" fmla="*/ 204798 h 204797"/>
                    <a:gd name="connsiteX1" fmla="*/ 68408 w 136816"/>
                    <a:gd name="connsiteY1" fmla="*/ 204798 h 204797"/>
                    <a:gd name="connsiteX2" fmla="*/ 0 w 136816"/>
                    <a:gd name="connsiteY2" fmla="*/ 136389 h 204797"/>
                    <a:gd name="connsiteX3" fmla="*/ 0 w 136816"/>
                    <a:gd name="connsiteY3" fmla="*/ 68408 h 204797"/>
                    <a:gd name="connsiteX4" fmla="*/ 68408 w 136816"/>
                    <a:gd name="connsiteY4" fmla="*/ 0 h 204797"/>
                    <a:gd name="connsiteX5" fmla="*/ 68408 w 136816"/>
                    <a:gd name="connsiteY5" fmla="*/ 0 h 204797"/>
                    <a:gd name="connsiteX6" fmla="*/ 136817 w 136816"/>
                    <a:gd name="connsiteY6" fmla="*/ 68408 h 204797"/>
                    <a:gd name="connsiteX7" fmla="*/ 136817 w 136816"/>
                    <a:gd name="connsiteY7" fmla="*/ 136389 h 204797"/>
                    <a:gd name="connsiteX8" fmla="*/ 68408 w 136816"/>
                    <a:gd name="connsiteY8" fmla="*/ 204798 h 20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16" h="204797">
                      <a:moveTo>
                        <a:pt x="68408" y="204798"/>
                      </a:moveTo>
                      <a:lnTo>
                        <a:pt x="68408" y="204798"/>
                      </a:lnTo>
                      <a:cubicBezTo>
                        <a:pt x="30570" y="204798"/>
                        <a:pt x="0" y="174228"/>
                        <a:pt x="0" y="136389"/>
                      </a:cubicBezTo>
                      <a:lnTo>
                        <a:pt x="0" y="68408"/>
                      </a:lnTo>
                      <a:cubicBezTo>
                        <a:pt x="0" y="30570"/>
                        <a:pt x="30570" y="0"/>
                        <a:pt x="68408" y="0"/>
                      </a:cubicBezTo>
                      <a:lnTo>
                        <a:pt x="68408" y="0"/>
                      </a:lnTo>
                      <a:cubicBezTo>
                        <a:pt x="106247" y="0"/>
                        <a:pt x="136817" y="30570"/>
                        <a:pt x="136817" y="68408"/>
                      </a:cubicBezTo>
                      <a:lnTo>
                        <a:pt x="136817" y="136389"/>
                      </a:lnTo>
                      <a:cubicBezTo>
                        <a:pt x="136817" y="174228"/>
                        <a:pt x="106247" y="204798"/>
                        <a:pt x="68408" y="20479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5" name="Graphic 2">
                  <a:extLst>
                    <a:ext uri="{FF2B5EF4-FFF2-40B4-BE49-F238E27FC236}">
                      <a16:creationId xmlns:a16="http://schemas.microsoft.com/office/drawing/2014/main" id="{8AC1806E-2205-487E-9309-DAC45CE47EA5}"/>
                    </a:ext>
                  </a:extLst>
                </p:cNvPr>
                <p:cNvSpPr/>
                <p:nvPr/>
              </p:nvSpPr>
              <p:spPr>
                <a:xfrm>
                  <a:off x="5461233" y="5441888"/>
                  <a:ext cx="13129" cy="3773"/>
                </a:xfrm>
                <a:custGeom>
                  <a:avLst/>
                  <a:gdLst>
                    <a:gd name="connsiteX0" fmla="*/ 0 w 127196"/>
                    <a:gd name="connsiteY0" fmla="*/ 0 h 36555"/>
                    <a:gd name="connsiteX1" fmla="*/ 127197 w 127196"/>
                    <a:gd name="connsiteY1" fmla="*/ 0 h 36555"/>
                    <a:gd name="connsiteX2" fmla="*/ 127197 w 127196"/>
                    <a:gd name="connsiteY2" fmla="*/ 36556 h 36555"/>
                    <a:gd name="connsiteX3" fmla="*/ 0 w 127196"/>
                    <a:gd name="connsiteY3" fmla="*/ 36556 h 36555"/>
                  </a:gdLst>
                  <a:ahLst/>
                  <a:cxnLst>
                    <a:cxn ang="0">
                      <a:pos x="connsiteX0" y="connsiteY0"/>
                    </a:cxn>
                    <a:cxn ang="0">
                      <a:pos x="connsiteX1" y="connsiteY1"/>
                    </a:cxn>
                    <a:cxn ang="0">
                      <a:pos x="connsiteX2" y="connsiteY2"/>
                    </a:cxn>
                    <a:cxn ang="0">
                      <a:pos x="connsiteX3" y="connsiteY3"/>
                    </a:cxn>
                  </a:cxnLst>
                  <a:rect l="l" t="t" r="r" b="b"/>
                  <a:pathLst>
                    <a:path w="127196" h="36555">
                      <a:moveTo>
                        <a:pt x="0" y="0"/>
                      </a:moveTo>
                      <a:lnTo>
                        <a:pt x="127197" y="0"/>
                      </a:lnTo>
                      <a:lnTo>
                        <a:pt x="127197" y="36556"/>
                      </a:lnTo>
                      <a:lnTo>
                        <a:pt x="0" y="36556"/>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6" name="Graphic 2">
                  <a:extLst>
                    <a:ext uri="{FF2B5EF4-FFF2-40B4-BE49-F238E27FC236}">
                      <a16:creationId xmlns:a16="http://schemas.microsoft.com/office/drawing/2014/main" id="{24E20C7F-1757-4F89-A0D7-51832CB07546}"/>
                    </a:ext>
                  </a:extLst>
                </p:cNvPr>
                <p:cNvSpPr/>
                <p:nvPr/>
              </p:nvSpPr>
              <p:spPr>
                <a:xfrm rot="5400000">
                  <a:off x="5456005" y="5428055"/>
                  <a:ext cx="23610" cy="4060"/>
                </a:xfrm>
                <a:custGeom>
                  <a:avLst/>
                  <a:gdLst>
                    <a:gd name="connsiteX0" fmla="*/ 0 w 228740"/>
                    <a:gd name="connsiteY0" fmla="*/ 0 h 39334"/>
                    <a:gd name="connsiteX1" fmla="*/ 228741 w 228740"/>
                    <a:gd name="connsiteY1" fmla="*/ 0 h 39334"/>
                    <a:gd name="connsiteX2" fmla="*/ 228741 w 228740"/>
                    <a:gd name="connsiteY2" fmla="*/ 39335 h 39334"/>
                    <a:gd name="connsiteX3" fmla="*/ 0 w 228740"/>
                    <a:gd name="connsiteY3" fmla="*/ 39335 h 39334"/>
                  </a:gdLst>
                  <a:ahLst/>
                  <a:cxnLst>
                    <a:cxn ang="0">
                      <a:pos x="connsiteX0" y="connsiteY0"/>
                    </a:cxn>
                    <a:cxn ang="0">
                      <a:pos x="connsiteX1" y="connsiteY1"/>
                    </a:cxn>
                    <a:cxn ang="0">
                      <a:pos x="connsiteX2" y="connsiteY2"/>
                    </a:cxn>
                    <a:cxn ang="0">
                      <a:pos x="connsiteX3" y="connsiteY3"/>
                    </a:cxn>
                  </a:cxnLst>
                  <a:rect l="l" t="t" r="r" b="b"/>
                  <a:pathLst>
                    <a:path w="228740" h="39334">
                      <a:moveTo>
                        <a:pt x="0" y="0"/>
                      </a:moveTo>
                      <a:lnTo>
                        <a:pt x="228741" y="0"/>
                      </a:lnTo>
                      <a:lnTo>
                        <a:pt x="228741" y="39335"/>
                      </a:lnTo>
                      <a:lnTo>
                        <a:pt x="0" y="39335"/>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7" name="Graphic 2">
                  <a:extLst>
                    <a:ext uri="{FF2B5EF4-FFF2-40B4-BE49-F238E27FC236}">
                      <a16:creationId xmlns:a16="http://schemas.microsoft.com/office/drawing/2014/main" id="{437294A8-0C54-4247-B162-25B983813898}"/>
                    </a:ext>
                  </a:extLst>
                </p:cNvPr>
                <p:cNvSpPr/>
                <p:nvPr/>
              </p:nvSpPr>
              <p:spPr>
                <a:xfrm>
                  <a:off x="5459203" y="5415983"/>
                  <a:ext cx="17211" cy="6818"/>
                </a:xfrm>
                <a:custGeom>
                  <a:avLst/>
                  <a:gdLst>
                    <a:gd name="connsiteX0" fmla="*/ 0 w 166745"/>
                    <a:gd name="connsiteY0" fmla="*/ 0 h 66056"/>
                    <a:gd name="connsiteX1" fmla="*/ 166746 w 166745"/>
                    <a:gd name="connsiteY1" fmla="*/ 0 h 66056"/>
                    <a:gd name="connsiteX2" fmla="*/ 166746 w 166745"/>
                    <a:gd name="connsiteY2" fmla="*/ 66057 h 66056"/>
                    <a:gd name="connsiteX3" fmla="*/ 0 w 166745"/>
                    <a:gd name="connsiteY3" fmla="*/ 66057 h 66056"/>
                  </a:gdLst>
                  <a:ahLst/>
                  <a:cxnLst>
                    <a:cxn ang="0">
                      <a:pos x="connsiteX0" y="connsiteY0"/>
                    </a:cxn>
                    <a:cxn ang="0">
                      <a:pos x="connsiteX1" y="connsiteY1"/>
                    </a:cxn>
                    <a:cxn ang="0">
                      <a:pos x="connsiteX2" y="connsiteY2"/>
                    </a:cxn>
                    <a:cxn ang="0">
                      <a:pos x="connsiteX3" y="connsiteY3"/>
                    </a:cxn>
                  </a:cxnLst>
                  <a:rect l="l" t="t" r="r" b="b"/>
                  <a:pathLst>
                    <a:path w="166745" h="66056">
                      <a:moveTo>
                        <a:pt x="0" y="0"/>
                      </a:moveTo>
                      <a:lnTo>
                        <a:pt x="166746" y="0"/>
                      </a:lnTo>
                      <a:lnTo>
                        <a:pt x="166746" y="66057"/>
                      </a:lnTo>
                      <a:lnTo>
                        <a:pt x="0" y="66057"/>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8" name="Graphic 2">
                  <a:extLst>
                    <a:ext uri="{FF2B5EF4-FFF2-40B4-BE49-F238E27FC236}">
                      <a16:creationId xmlns:a16="http://schemas.microsoft.com/office/drawing/2014/main" id="{D8D57E88-B78D-435D-8076-13FBDFB82905}"/>
                    </a:ext>
                  </a:extLst>
                </p:cNvPr>
                <p:cNvSpPr/>
                <p:nvPr/>
              </p:nvSpPr>
              <p:spPr>
                <a:xfrm>
                  <a:off x="5717283" y="5404795"/>
                  <a:ext cx="13151" cy="19705"/>
                </a:xfrm>
                <a:custGeom>
                  <a:avLst/>
                  <a:gdLst>
                    <a:gd name="connsiteX0" fmla="*/ 63705 w 127412"/>
                    <a:gd name="connsiteY0" fmla="*/ 190902 h 190902"/>
                    <a:gd name="connsiteX1" fmla="*/ 63705 w 127412"/>
                    <a:gd name="connsiteY1" fmla="*/ 190902 h 190902"/>
                    <a:gd name="connsiteX2" fmla="*/ 0 w 127412"/>
                    <a:gd name="connsiteY2" fmla="*/ 127197 h 190902"/>
                    <a:gd name="connsiteX3" fmla="*/ 0 w 127412"/>
                    <a:gd name="connsiteY3" fmla="*/ 63705 h 190902"/>
                    <a:gd name="connsiteX4" fmla="*/ 63705 w 127412"/>
                    <a:gd name="connsiteY4" fmla="*/ 0 h 190902"/>
                    <a:gd name="connsiteX5" fmla="*/ 63705 w 127412"/>
                    <a:gd name="connsiteY5" fmla="*/ 0 h 190902"/>
                    <a:gd name="connsiteX6" fmla="*/ 127411 w 127412"/>
                    <a:gd name="connsiteY6" fmla="*/ 63705 h 190902"/>
                    <a:gd name="connsiteX7" fmla="*/ 127411 w 127412"/>
                    <a:gd name="connsiteY7" fmla="*/ 127197 h 190902"/>
                    <a:gd name="connsiteX8" fmla="*/ 63705 w 127412"/>
                    <a:gd name="connsiteY8" fmla="*/ 190902 h 19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412" h="190902">
                      <a:moveTo>
                        <a:pt x="63705" y="190902"/>
                      </a:moveTo>
                      <a:lnTo>
                        <a:pt x="63705" y="190902"/>
                      </a:lnTo>
                      <a:cubicBezTo>
                        <a:pt x="28432" y="190902"/>
                        <a:pt x="0" y="162256"/>
                        <a:pt x="0" y="127197"/>
                      </a:cubicBezTo>
                      <a:lnTo>
                        <a:pt x="0" y="63705"/>
                      </a:lnTo>
                      <a:cubicBezTo>
                        <a:pt x="0" y="28432"/>
                        <a:pt x="28646" y="0"/>
                        <a:pt x="63705" y="0"/>
                      </a:cubicBezTo>
                      <a:lnTo>
                        <a:pt x="63705" y="0"/>
                      </a:lnTo>
                      <a:cubicBezTo>
                        <a:pt x="98979" y="0"/>
                        <a:pt x="127411" y="28646"/>
                        <a:pt x="127411" y="63705"/>
                      </a:cubicBezTo>
                      <a:lnTo>
                        <a:pt x="127411" y="127197"/>
                      </a:lnTo>
                      <a:cubicBezTo>
                        <a:pt x="127625" y="162470"/>
                        <a:pt x="98979" y="190902"/>
                        <a:pt x="63705" y="19090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99" name="Graphic 2">
                  <a:extLst>
                    <a:ext uri="{FF2B5EF4-FFF2-40B4-BE49-F238E27FC236}">
                      <a16:creationId xmlns:a16="http://schemas.microsoft.com/office/drawing/2014/main" id="{C5969C82-8432-468B-AE43-2AF7C17C4E7C}"/>
                    </a:ext>
                  </a:extLst>
                </p:cNvPr>
                <p:cNvSpPr/>
                <p:nvPr/>
              </p:nvSpPr>
              <p:spPr>
                <a:xfrm>
                  <a:off x="5717659" y="5442572"/>
                  <a:ext cx="12246" cy="3508"/>
                </a:xfrm>
                <a:custGeom>
                  <a:avLst/>
                  <a:gdLst>
                    <a:gd name="connsiteX0" fmla="*/ 0 w 118645"/>
                    <a:gd name="connsiteY0" fmla="*/ 0 h 33990"/>
                    <a:gd name="connsiteX1" fmla="*/ 118646 w 118645"/>
                    <a:gd name="connsiteY1" fmla="*/ 0 h 33990"/>
                    <a:gd name="connsiteX2" fmla="*/ 118646 w 118645"/>
                    <a:gd name="connsiteY2" fmla="*/ 33991 h 33990"/>
                    <a:gd name="connsiteX3" fmla="*/ 0 w 118645"/>
                    <a:gd name="connsiteY3" fmla="*/ 33991 h 33990"/>
                  </a:gdLst>
                  <a:ahLst/>
                  <a:cxnLst>
                    <a:cxn ang="0">
                      <a:pos x="connsiteX0" y="connsiteY0"/>
                    </a:cxn>
                    <a:cxn ang="0">
                      <a:pos x="connsiteX1" y="connsiteY1"/>
                    </a:cxn>
                    <a:cxn ang="0">
                      <a:pos x="connsiteX2" y="connsiteY2"/>
                    </a:cxn>
                    <a:cxn ang="0">
                      <a:pos x="connsiteX3" y="connsiteY3"/>
                    </a:cxn>
                  </a:cxnLst>
                  <a:rect l="l" t="t" r="r" b="b"/>
                  <a:pathLst>
                    <a:path w="118645" h="33990">
                      <a:moveTo>
                        <a:pt x="0" y="0"/>
                      </a:moveTo>
                      <a:lnTo>
                        <a:pt x="118646" y="0"/>
                      </a:lnTo>
                      <a:lnTo>
                        <a:pt x="118646" y="33991"/>
                      </a:lnTo>
                      <a:lnTo>
                        <a:pt x="0" y="33991"/>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0" name="Graphic 2">
                  <a:extLst>
                    <a:ext uri="{FF2B5EF4-FFF2-40B4-BE49-F238E27FC236}">
                      <a16:creationId xmlns:a16="http://schemas.microsoft.com/office/drawing/2014/main" id="{95861A33-F880-4992-99C7-2A0EFE0BC09D}"/>
                    </a:ext>
                  </a:extLst>
                </p:cNvPr>
                <p:cNvSpPr/>
                <p:nvPr/>
              </p:nvSpPr>
              <p:spPr>
                <a:xfrm rot="5400000">
                  <a:off x="5712782" y="5429673"/>
                  <a:ext cx="22000" cy="3795"/>
                </a:xfrm>
                <a:custGeom>
                  <a:avLst/>
                  <a:gdLst>
                    <a:gd name="connsiteX0" fmla="*/ 0 w 213134"/>
                    <a:gd name="connsiteY0" fmla="*/ 0 h 36769"/>
                    <a:gd name="connsiteX1" fmla="*/ 213135 w 213134"/>
                    <a:gd name="connsiteY1" fmla="*/ 0 h 36769"/>
                    <a:gd name="connsiteX2" fmla="*/ 213135 w 213134"/>
                    <a:gd name="connsiteY2" fmla="*/ 36770 h 36769"/>
                    <a:gd name="connsiteX3" fmla="*/ 0 w 213134"/>
                    <a:gd name="connsiteY3" fmla="*/ 36770 h 36769"/>
                  </a:gdLst>
                  <a:ahLst/>
                  <a:cxnLst>
                    <a:cxn ang="0">
                      <a:pos x="connsiteX0" y="connsiteY0"/>
                    </a:cxn>
                    <a:cxn ang="0">
                      <a:pos x="connsiteX1" y="connsiteY1"/>
                    </a:cxn>
                    <a:cxn ang="0">
                      <a:pos x="connsiteX2" y="connsiteY2"/>
                    </a:cxn>
                    <a:cxn ang="0">
                      <a:pos x="connsiteX3" y="connsiteY3"/>
                    </a:cxn>
                  </a:cxnLst>
                  <a:rect l="l" t="t" r="r" b="b"/>
                  <a:pathLst>
                    <a:path w="213134" h="36769">
                      <a:moveTo>
                        <a:pt x="0" y="0"/>
                      </a:moveTo>
                      <a:lnTo>
                        <a:pt x="213135" y="0"/>
                      </a:lnTo>
                      <a:lnTo>
                        <a:pt x="213135" y="36770"/>
                      </a:lnTo>
                      <a:lnTo>
                        <a:pt x="0" y="3677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1" name="Graphic 2">
                  <a:extLst>
                    <a:ext uri="{FF2B5EF4-FFF2-40B4-BE49-F238E27FC236}">
                      <a16:creationId xmlns:a16="http://schemas.microsoft.com/office/drawing/2014/main" id="{A9B63BC2-D8F0-4AF7-BD59-0195E4019C32}"/>
                    </a:ext>
                  </a:extLst>
                </p:cNvPr>
                <p:cNvSpPr/>
                <p:nvPr/>
              </p:nvSpPr>
              <p:spPr>
                <a:xfrm>
                  <a:off x="5833658" y="5402170"/>
                  <a:ext cx="14122" cy="21139"/>
                </a:xfrm>
                <a:custGeom>
                  <a:avLst/>
                  <a:gdLst>
                    <a:gd name="connsiteX0" fmla="*/ 68408 w 136816"/>
                    <a:gd name="connsiteY0" fmla="*/ 204798 h 204797"/>
                    <a:gd name="connsiteX1" fmla="*/ 68408 w 136816"/>
                    <a:gd name="connsiteY1" fmla="*/ 204798 h 204797"/>
                    <a:gd name="connsiteX2" fmla="*/ 0 w 136816"/>
                    <a:gd name="connsiteY2" fmla="*/ 136389 h 204797"/>
                    <a:gd name="connsiteX3" fmla="*/ 0 w 136816"/>
                    <a:gd name="connsiteY3" fmla="*/ 68408 h 204797"/>
                    <a:gd name="connsiteX4" fmla="*/ 68408 w 136816"/>
                    <a:gd name="connsiteY4" fmla="*/ 0 h 204797"/>
                    <a:gd name="connsiteX5" fmla="*/ 68408 w 136816"/>
                    <a:gd name="connsiteY5" fmla="*/ 0 h 204797"/>
                    <a:gd name="connsiteX6" fmla="*/ 136817 w 136816"/>
                    <a:gd name="connsiteY6" fmla="*/ 68408 h 204797"/>
                    <a:gd name="connsiteX7" fmla="*/ 136817 w 136816"/>
                    <a:gd name="connsiteY7" fmla="*/ 136389 h 204797"/>
                    <a:gd name="connsiteX8" fmla="*/ 68408 w 136816"/>
                    <a:gd name="connsiteY8" fmla="*/ 204798 h 20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816" h="204797">
                      <a:moveTo>
                        <a:pt x="68408" y="204798"/>
                      </a:moveTo>
                      <a:lnTo>
                        <a:pt x="68408" y="204798"/>
                      </a:lnTo>
                      <a:cubicBezTo>
                        <a:pt x="30570" y="204798"/>
                        <a:pt x="0" y="174228"/>
                        <a:pt x="0" y="136389"/>
                      </a:cubicBezTo>
                      <a:lnTo>
                        <a:pt x="0" y="68408"/>
                      </a:lnTo>
                      <a:cubicBezTo>
                        <a:pt x="0" y="30570"/>
                        <a:pt x="30570" y="0"/>
                        <a:pt x="68408" y="0"/>
                      </a:cubicBezTo>
                      <a:lnTo>
                        <a:pt x="68408" y="0"/>
                      </a:lnTo>
                      <a:cubicBezTo>
                        <a:pt x="106247" y="0"/>
                        <a:pt x="136817" y="30570"/>
                        <a:pt x="136817" y="68408"/>
                      </a:cubicBezTo>
                      <a:lnTo>
                        <a:pt x="136817" y="136389"/>
                      </a:lnTo>
                      <a:cubicBezTo>
                        <a:pt x="136817" y="174228"/>
                        <a:pt x="106247" y="204798"/>
                        <a:pt x="68408" y="20479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2" name="Graphic 2">
                  <a:extLst>
                    <a:ext uri="{FF2B5EF4-FFF2-40B4-BE49-F238E27FC236}">
                      <a16:creationId xmlns:a16="http://schemas.microsoft.com/office/drawing/2014/main" id="{FDE70C21-1C3F-4C37-B08D-1DFC30DC8D1E}"/>
                    </a:ext>
                  </a:extLst>
                </p:cNvPr>
                <p:cNvSpPr/>
                <p:nvPr/>
              </p:nvSpPr>
              <p:spPr>
                <a:xfrm>
                  <a:off x="5834055" y="5442683"/>
                  <a:ext cx="13129" cy="3773"/>
                </a:xfrm>
                <a:custGeom>
                  <a:avLst/>
                  <a:gdLst>
                    <a:gd name="connsiteX0" fmla="*/ 0 w 127196"/>
                    <a:gd name="connsiteY0" fmla="*/ 0 h 36555"/>
                    <a:gd name="connsiteX1" fmla="*/ 127197 w 127196"/>
                    <a:gd name="connsiteY1" fmla="*/ 0 h 36555"/>
                    <a:gd name="connsiteX2" fmla="*/ 127197 w 127196"/>
                    <a:gd name="connsiteY2" fmla="*/ 36556 h 36555"/>
                    <a:gd name="connsiteX3" fmla="*/ 0 w 127196"/>
                    <a:gd name="connsiteY3" fmla="*/ 36556 h 36555"/>
                  </a:gdLst>
                  <a:ahLst/>
                  <a:cxnLst>
                    <a:cxn ang="0">
                      <a:pos x="connsiteX0" y="connsiteY0"/>
                    </a:cxn>
                    <a:cxn ang="0">
                      <a:pos x="connsiteX1" y="connsiteY1"/>
                    </a:cxn>
                    <a:cxn ang="0">
                      <a:pos x="connsiteX2" y="connsiteY2"/>
                    </a:cxn>
                    <a:cxn ang="0">
                      <a:pos x="connsiteX3" y="connsiteY3"/>
                    </a:cxn>
                  </a:cxnLst>
                  <a:rect l="l" t="t" r="r" b="b"/>
                  <a:pathLst>
                    <a:path w="127196" h="36555">
                      <a:moveTo>
                        <a:pt x="0" y="0"/>
                      </a:moveTo>
                      <a:lnTo>
                        <a:pt x="127197" y="0"/>
                      </a:lnTo>
                      <a:lnTo>
                        <a:pt x="127197" y="36556"/>
                      </a:lnTo>
                      <a:lnTo>
                        <a:pt x="0" y="36556"/>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3" name="Graphic 2">
                  <a:extLst>
                    <a:ext uri="{FF2B5EF4-FFF2-40B4-BE49-F238E27FC236}">
                      <a16:creationId xmlns:a16="http://schemas.microsoft.com/office/drawing/2014/main" id="{F75AFEB9-E16E-4E30-89AF-50DBEAEF7594}"/>
                    </a:ext>
                  </a:extLst>
                </p:cNvPr>
                <p:cNvSpPr/>
                <p:nvPr/>
              </p:nvSpPr>
              <p:spPr>
                <a:xfrm rot="5400000">
                  <a:off x="5828823" y="5428852"/>
                  <a:ext cx="23610" cy="4060"/>
                </a:xfrm>
                <a:custGeom>
                  <a:avLst/>
                  <a:gdLst>
                    <a:gd name="connsiteX0" fmla="*/ 0 w 228740"/>
                    <a:gd name="connsiteY0" fmla="*/ 0 h 39334"/>
                    <a:gd name="connsiteX1" fmla="*/ 228740 w 228740"/>
                    <a:gd name="connsiteY1" fmla="*/ 0 h 39334"/>
                    <a:gd name="connsiteX2" fmla="*/ 228740 w 228740"/>
                    <a:gd name="connsiteY2" fmla="*/ 39335 h 39334"/>
                    <a:gd name="connsiteX3" fmla="*/ 0 w 228740"/>
                    <a:gd name="connsiteY3" fmla="*/ 39335 h 39334"/>
                  </a:gdLst>
                  <a:ahLst/>
                  <a:cxnLst>
                    <a:cxn ang="0">
                      <a:pos x="connsiteX0" y="connsiteY0"/>
                    </a:cxn>
                    <a:cxn ang="0">
                      <a:pos x="connsiteX1" y="connsiteY1"/>
                    </a:cxn>
                    <a:cxn ang="0">
                      <a:pos x="connsiteX2" y="connsiteY2"/>
                    </a:cxn>
                    <a:cxn ang="0">
                      <a:pos x="connsiteX3" y="connsiteY3"/>
                    </a:cxn>
                  </a:cxnLst>
                  <a:rect l="l" t="t" r="r" b="b"/>
                  <a:pathLst>
                    <a:path w="228740" h="39334">
                      <a:moveTo>
                        <a:pt x="0" y="0"/>
                      </a:moveTo>
                      <a:lnTo>
                        <a:pt x="228740" y="0"/>
                      </a:lnTo>
                      <a:lnTo>
                        <a:pt x="228740" y="39335"/>
                      </a:lnTo>
                      <a:lnTo>
                        <a:pt x="0" y="39335"/>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4" name="Graphic 2">
                  <a:extLst>
                    <a:ext uri="{FF2B5EF4-FFF2-40B4-BE49-F238E27FC236}">
                      <a16:creationId xmlns:a16="http://schemas.microsoft.com/office/drawing/2014/main" id="{416871E3-FD89-4CE5-B0A4-74603F70D694}"/>
                    </a:ext>
                  </a:extLst>
                </p:cNvPr>
                <p:cNvSpPr/>
                <p:nvPr/>
              </p:nvSpPr>
              <p:spPr>
                <a:xfrm>
                  <a:off x="5665010" y="5319545"/>
                  <a:ext cx="85928" cy="56918"/>
                </a:xfrm>
                <a:custGeom>
                  <a:avLst/>
                  <a:gdLst>
                    <a:gd name="connsiteX0" fmla="*/ 832445 w 832485"/>
                    <a:gd name="connsiteY0" fmla="*/ 128363 h 551426"/>
                    <a:gd name="connsiteX1" fmla="*/ 718288 w 832485"/>
                    <a:gd name="connsiteY1" fmla="*/ 429788 h 551426"/>
                    <a:gd name="connsiteX2" fmla="*/ 0 w 832485"/>
                    <a:gd name="connsiteY2" fmla="*/ 551426 h 551426"/>
                    <a:gd name="connsiteX3" fmla="*/ 0 w 832485"/>
                    <a:gd name="connsiteY3" fmla="*/ 217080 h 551426"/>
                    <a:gd name="connsiteX4" fmla="*/ 689856 w 832485"/>
                    <a:gd name="connsiteY4" fmla="*/ 217080 h 551426"/>
                    <a:gd name="connsiteX5" fmla="*/ 773443 w 832485"/>
                    <a:gd name="connsiteY5" fmla="*/ 11855 h 551426"/>
                    <a:gd name="connsiteX6" fmla="*/ 826673 w 832485"/>
                    <a:gd name="connsiteY6" fmla="*/ 38363 h 551426"/>
                    <a:gd name="connsiteX7" fmla="*/ 832445 w 832485"/>
                    <a:gd name="connsiteY7" fmla="*/ 128363 h 55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2485" h="551426">
                      <a:moveTo>
                        <a:pt x="832445" y="128363"/>
                      </a:moveTo>
                      <a:cubicBezTo>
                        <a:pt x="831376" y="231403"/>
                        <a:pt x="809143" y="383612"/>
                        <a:pt x="718288" y="429788"/>
                      </a:cubicBezTo>
                      <a:cubicBezTo>
                        <a:pt x="590878" y="494348"/>
                        <a:pt x="0" y="551426"/>
                        <a:pt x="0" y="551426"/>
                      </a:cubicBezTo>
                      <a:lnTo>
                        <a:pt x="0" y="217080"/>
                      </a:lnTo>
                      <a:cubicBezTo>
                        <a:pt x="0" y="217080"/>
                        <a:pt x="642184" y="236106"/>
                        <a:pt x="689856" y="217080"/>
                      </a:cubicBezTo>
                      <a:cubicBezTo>
                        <a:pt x="737314" y="198054"/>
                        <a:pt x="769595" y="25109"/>
                        <a:pt x="773443" y="11855"/>
                      </a:cubicBezTo>
                      <a:cubicBezTo>
                        <a:pt x="777291" y="-1399"/>
                        <a:pt x="815129" y="-14653"/>
                        <a:pt x="826673" y="38363"/>
                      </a:cubicBezTo>
                      <a:cubicBezTo>
                        <a:pt x="829880" y="53541"/>
                        <a:pt x="832873" y="87104"/>
                        <a:pt x="832445" y="128363"/>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5" name="Graphic 2">
                  <a:extLst>
                    <a:ext uri="{FF2B5EF4-FFF2-40B4-BE49-F238E27FC236}">
                      <a16:creationId xmlns:a16="http://schemas.microsoft.com/office/drawing/2014/main" id="{DF2B9AA2-1BA4-4519-8C5C-CCCDEE00F2C6}"/>
                    </a:ext>
                  </a:extLst>
                </p:cNvPr>
                <p:cNvSpPr/>
                <p:nvPr/>
              </p:nvSpPr>
              <p:spPr>
                <a:xfrm>
                  <a:off x="5601549" y="5301439"/>
                  <a:ext cx="24030" cy="7546"/>
                </a:xfrm>
                <a:custGeom>
                  <a:avLst/>
                  <a:gdLst>
                    <a:gd name="connsiteX0" fmla="*/ 196247 w 232802"/>
                    <a:gd name="connsiteY0" fmla="*/ 0 h 73111"/>
                    <a:gd name="connsiteX1" fmla="*/ 36556 w 232802"/>
                    <a:gd name="connsiteY1" fmla="*/ 0 h 73111"/>
                    <a:gd name="connsiteX2" fmla="*/ 0 w 232802"/>
                    <a:gd name="connsiteY2" fmla="*/ 36556 h 73111"/>
                    <a:gd name="connsiteX3" fmla="*/ 0 w 232802"/>
                    <a:gd name="connsiteY3" fmla="*/ 36556 h 73111"/>
                    <a:gd name="connsiteX4" fmla="*/ 36556 w 232802"/>
                    <a:gd name="connsiteY4" fmla="*/ 73112 h 73111"/>
                    <a:gd name="connsiteX5" fmla="*/ 196247 w 232802"/>
                    <a:gd name="connsiteY5" fmla="*/ 73112 h 73111"/>
                    <a:gd name="connsiteX6" fmla="*/ 232803 w 232802"/>
                    <a:gd name="connsiteY6" fmla="*/ 36556 h 73111"/>
                    <a:gd name="connsiteX7" fmla="*/ 232803 w 232802"/>
                    <a:gd name="connsiteY7" fmla="*/ 36556 h 73111"/>
                    <a:gd name="connsiteX8" fmla="*/ 196247 w 232802"/>
                    <a:gd name="connsiteY8" fmla="*/ 0 h 7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802" h="73111">
                      <a:moveTo>
                        <a:pt x="196247" y="0"/>
                      </a:moveTo>
                      <a:lnTo>
                        <a:pt x="36556" y="0"/>
                      </a:lnTo>
                      <a:cubicBezTo>
                        <a:pt x="16247" y="0"/>
                        <a:pt x="0" y="16461"/>
                        <a:pt x="0" y="36556"/>
                      </a:cubicBezTo>
                      <a:lnTo>
                        <a:pt x="0" y="36556"/>
                      </a:lnTo>
                      <a:cubicBezTo>
                        <a:pt x="0" y="56865"/>
                        <a:pt x="16461" y="73112"/>
                        <a:pt x="36556" y="73112"/>
                      </a:cubicBezTo>
                      <a:lnTo>
                        <a:pt x="196247" y="73112"/>
                      </a:lnTo>
                      <a:cubicBezTo>
                        <a:pt x="216556" y="73112"/>
                        <a:pt x="232803" y="56651"/>
                        <a:pt x="232803" y="36556"/>
                      </a:cubicBezTo>
                      <a:lnTo>
                        <a:pt x="232803" y="36556"/>
                      </a:lnTo>
                      <a:cubicBezTo>
                        <a:pt x="232803" y="16461"/>
                        <a:pt x="216556" y="0"/>
                        <a:pt x="196247" y="0"/>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6" name="Graphic 2">
                  <a:extLst>
                    <a:ext uri="{FF2B5EF4-FFF2-40B4-BE49-F238E27FC236}">
                      <a16:creationId xmlns:a16="http://schemas.microsoft.com/office/drawing/2014/main" id="{6B9D96F2-17F9-4EA5-945A-7240221DBDE1}"/>
                    </a:ext>
                  </a:extLst>
                </p:cNvPr>
                <p:cNvSpPr/>
                <p:nvPr/>
              </p:nvSpPr>
              <p:spPr>
                <a:xfrm>
                  <a:off x="5609051" y="5294356"/>
                  <a:ext cx="8628" cy="9422"/>
                </a:xfrm>
                <a:custGeom>
                  <a:avLst/>
                  <a:gdLst>
                    <a:gd name="connsiteX0" fmla="*/ 0 w 83586"/>
                    <a:gd name="connsiteY0" fmla="*/ 0 h 91282"/>
                    <a:gd name="connsiteX1" fmla="*/ 83587 w 83586"/>
                    <a:gd name="connsiteY1" fmla="*/ 0 h 91282"/>
                    <a:gd name="connsiteX2" fmla="*/ 83587 w 83586"/>
                    <a:gd name="connsiteY2" fmla="*/ 91283 h 91282"/>
                    <a:gd name="connsiteX3" fmla="*/ 0 w 83586"/>
                    <a:gd name="connsiteY3" fmla="*/ 91283 h 91282"/>
                  </a:gdLst>
                  <a:ahLst/>
                  <a:cxnLst>
                    <a:cxn ang="0">
                      <a:pos x="connsiteX0" y="connsiteY0"/>
                    </a:cxn>
                    <a:cxn ang="0">
                      <a:pos x="connsiteX1" y="connsiteY1"/>
                    </a:cxn>
                    <a:cxn ang="0">
                      <a:pos x="connsiteX2" y="connsiteY2"/>
                    </a:cxn>
                    <a:cxn ang="0">
                      <a:pos x="connsiteX3" y="connsiteY3"/>
                    </a:cxn>
                  </a:cxnLst>
                  <a:rect l="l" t="t" r="r" b="b"/>
                  <a:pathLst>
                    <a:path w="83586" h="91282">
                      <a:moveTo>
                        <a:pt x="0" y="0"/>
                      </a:moveTo>
                      <a:lnTo>
                        <a:pt x="83587" y="0"/>
                      </a:lnTo>
                      <a:lnTo>
                        <a:pt x="83587" y="91283"/>
                      </a:lnTo>
                      <a:lnTo>
                        <a:pt x="0" y="91283"/>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7" name="Graphic 2">
                  <a:extLst>
                    <a:ext uri="{FF2B5EF4-FFF2-40B4-BE49-F238E27FC236}">
                      <a16:creationId xmlns:a16="http://schemas.microsoft.com/office/drawing/2014/main" id="{2E500C67-62AD-4F4C-95F9-434EDB421291}"/>
                    </a:ext>
                  </a:extLst>
                </p:cNvPr>
                <p:cNvSpPr/>
                <p:nvPr/>
              </p:nvSpPr>
              <p:spPr>
                <a:xfrm>
                  <a:off x="5604594" y="5284934"/>
                  <a:ext cx="17542" cy="9422"/>
                </a:xfrm>
                <a:custGeom>
                  <a:avLst/>
                  <a:gdLst>
                    <a:gd name="connsiteX0" fmla="*/ 154988 w 169952"/>
                    <a:gd name="connsiteY0" fmla="*/ 91283 h 91282"/>
                    <a:gd name="connsiteX1" fmla="*/ 14964 w 169952"/>
                    <a:gd name="connsiteY1" fmla="*/ 91283 h 91282"/>
                    <a:gd name="connsiteX2" fmla="*/ 0 w 169952"/>
                    <a:gd name="connsiteY2" fmla="*/ 76318 h 91282"/>
                    <a:gd name="connsiteX3" fmla="*/ 0 w 169952"/>
                    <a:gd name="connsiteY3" fmla="*/ 14964 h 91282"/>
                    <a:gd name="connsiteX4" fmla="*/ 14964 w 169952"/>
                    <a:gd name="connsiteY4" fmla="*/ 0 h 91282"/>
                    <a:gd name="connsiteX5" fmla="*/ 154988 w 169952"/>
                    <a:gd name="connsiteY5" fmla="*/ 0 h 91282"/>
                    <a:gd name="connsiteX6" fmla="*/ 169952 w 169952"/>
                    <a:gd name="connsiteY6" fmla="*/ 14964 h 91282"/>
                    <a:gd name="connsiteX7" fmla="*/ 169952 w 169952"/>
                    <a:gd name="connsiteY7" fmla="*/ 76318 h 91282"/>
                    <a:gd name="connsiteX8" fmla="*/ 154988 w 169952"/>
                    <a:gd name="connsiteY8" fmla="*/ 91283 h 91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952" h="91282">
                      <a:moveTo>
                        <a:pt x="154988" y="91283"/>
                      </a:moveTo>
                      <a:lnTo>
                        <a:pt x="14964" y="91283"/>
                      </a:lnTo>
                      <a:cubicBezTo>
                        <a:pt x="6841" y="91283"/>
                        <a:pt x="0" y="84655"/>
                        <a:pt x="0" y="76318"/>
                      </a:cubicBezTo>
                      <a:lnTo>
                        <a:pt x="0" y="14964"/>
                      </a:lnTo>
                      <a:cubicBezTo>
                        <a:pt x="0" y="6841"/>
                        <a:pt x="6627" y="0"/>
                        <a:pt x="14964" y="0"/>
                      </a:cubicBezTo>
                      <a:lnTo>
                        <a:pt x="154988" y="0"/>
                      </a:lnTo>
                      <a:cubicBezTo>
                        <a:pt x="163111" y="0"/>
                        <a:pt x="169952" y="6627"/>
                        <a:pt x="169952" y="14964"/>
                      </a:cubicBezTo>
                      <a:lnTo>
                        <a:pt x="169952" y="76318"/>
                      </a:lnTo>
                      <a:cubicBezTo>
                        <a:pt x="169739" y="84442"/>
                        <a:pt x="163111" y="91283"/>
                        <a:pt x="154988" y="9128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8" name="Graphic 2">
                  <a:extLst>
                    <a:ext uri="{FF2B5EF4-FFF2-40B4-BE49-F238E27FC236}">
                      <a16:creationId xmlns:a16="http://schemas.microsoft.com/office/drawing/2014/main" id="{95F7A57D-2674-4678-A6F4-F9007873F4F0}"/>
                    </a:ext>
                  </a:extLst>
                </p:cNvPr>
                <p:cNvSpPr/>
                <p:nvPr/>
              </p:nvSpPr>
              <p:spPr>
                <a:xfrm>
                  <a:off x="5510181" y="5278631"/>
                  <a:ext cx="94413" cy="11003"/>
                </a:xfrm>
                <a:custGeom>
                  <a:avLst/>
                  <a:gdLst>
                    <a:gd name="connsiteX0" fmla="*/ 914685 w 914685"/>
                    <a:gd name="connsiteY0" fmla="*/ 106596 h 106595"/>
                    <a:gd name="connsiteX1" fmla="*/ 148939 w 914685"/>
                    <a:gd name="connsiteY1" fmla="*/ 88852 h 106595"/>
                    <a:gd name="connsiteX2" fmla="*/ 10198 w 914685"/>
                    <a:gd name="connsiteY2" fmla="*/ 14672 h 106595"/>
                    <a:gd name="connsiteX3" fmla="*/ 354164 w 914685"/>
                    <a:gd name="connsiteY3" fmla="*/ 24078 h 106595"/>
                    <a:gd name="connsiteX4" fmla="*/ 914685 w 914685"/>
                    <a:gd name="connsiteY4" fmla="*/ 87784 h 106595"/>
                    <a:gd name="connsiteX5" fmla="*/ 914685 w 914685"/>
                    <a:gd name="connsiteY5" fmla="*/ 106596 h 1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685" h="106595">
                      <a:moveTo>
                        <a:pt x="914685" y="106596"/>
                      </a:moveTo>
                      <a:cubicBezTo>
                        <a:pt x="914685" y="106596"/>
                        <a:pt x="268653" y="102107"/>
                        <a:pt x="148939" y="88852"/>
                      </a:cubicBezTo>
                      <a:cubicBezTo>
                        <a:pt x="29224" y="75598"/>
                        <a:pt x="-24006" y="41394"/>
                        <a:pt x="10198" y="14672"/>
                      </a:cubicBezTo>
                      <a:cubicBezTo>
                        <a:pt x="44402" y="-11836"/>
                        <a:pt x="162193" y="1418"/>
                        <a:pt x="354164" y="24078"/>
                      </a:cubicBezTo>
                      <a:cubicBezTo>
                        <a:pt x="546135" y="46952"/>
                        <a:pt x="914685" y="87784"/>
                        <a:pt x="914685" y="87784"/>
                      </a:cubicBezTo>
                      <a:lnTo>
                        <a:pt x="914685" y="106596"/>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09" name="Graphic 2">
                  <a:extLst>
                    <a:ext uri="{FF2B5EF4-FFF2-40B4-BE49-F238E27FC236}">
                      <a16:creationId xmlns:a16="http://schemas.microsoft.com/office/drawing/2014/main" id="{81294FC0-B4EE-48BD-AAB6-F4AE88DD7CE3}"/>
                    </a:ext>
                  </a:extLst>
                </p:cNvPr>
                <p:cNvSpPr/>
                <p:nvPr/>
              </p:nvSpPr>
              <p:spPr>
                <a:xfrm>
                  <a:off x="5515225" y="5289634"/>
                  <a:ext cx="89369" cy="10939"/>
                </a:xfrm>
                <a:custGeom>
                  <a:avLst/>
                  <a:gdLst>
                    <a:gd name="connsiteX0" fmla="*/ 865824 w 865824"/>
                    <a:gd name="connsiteY0" fmla="*/ 30784 h 105976"/>
                    <a:gd name="connsiteX1" fmla="*/ 31028 w 865824"/>
                    <a:gd name="connsiteY1" fmla="*/ 101330 h 105976"/>
                    <a:gd name="connsiteX2" fmla="*/ 103284 w 865824"/>
                    <a:gd name="connsiteY2" fmla="*/ 30784 h 105976"/>
                    <a:gd name="connsiteX3" fmla="*/ 865824 w 865824"/>
                    <a:gd name="connsiteY3" fmla="*/ 0 h 105976"/>
                    <a:gd name="connsiteX4" fmla="*/ 865824 w 865824"/>
                    <a:gd name="connsiteY4" fmla="*/ 30784 h 105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824" h="105976">
                      <a:moveTo>
                        <a:pt x="865824" y="30784"/>
                      </a:moveTo>
                      <a:cubicBezTo>
                        <a:pt x="865824" y="30784"/>
                        <a:pt x="87893" y="128052"/>
                        <a:pt x="31028" y="101330"/>
                      </a:cubicBezTo>
                      <a:cubicBezTo>
                        <a:pt x="-26050" y="74822"/>
                        <a:pt x="-5742" y="57720"/>
                        <a:pt x="103284" y="30784"/>
                      </a:cubicBezTo>
                      <a:cubicBezTo>
                        <a:pt x="212310" y="3848"/>
                        <a:pt x="865824" y="0"/>
                        <a:pt x="865824" y="0"/>
                      </a:cubicBezTo>
                      <a:lnTo>
                        <a:pt x="865824" y="30784"/>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0" name="Graphic 2">
                  <a:extLst>
                    <a:ext uri="{FF2B5EF4-FFF2-40B4-BE49-F238E27FC236}">
                      <a16:creationId xmlns:a16="http://schemas.microsoft.com/office/drawing/2014/main" id="{9E3C4FF1-9B9C-4ADE-948F-18455E0A78F8}"/>
                    </a:ext>
                  </a:extLst>
                </p:cNvPr>
                <p:cNvSpPr/>
                <p:nvPr/>
              </p:nvSpPr>
              <p:spPr>
                <a:xfrm>
                  <a:off x="5622114" y="5286244"/>
                  <a:ext cx="86075" cy="14782"/>
                </a:xfrm>
                <a:custGeom>
                  <a:avLst/>
                  <a:gdLst>
                    <a:gd name="connsiteX0" fmla="*/ 0 w 833908"/>
                    <a:gd name="connsiteY0" fmla="*/ 63620 h 143207"/>
                    <a:gd name="connsiteX1" fmla="*/ 760188 w 833908"/>
                    <a:gd name="connsiteY1" fmla="*/ 130532 h 143207"/>
                    <a:gd name="connsiteX2" fmla="*/ 492968 w 833908"/>
                    <a:gd name="connsiteY2" fmla="*/ 128 h 143207"/>
                    <a:gd name="connsiteX3" fmla="*/ 213 w 833908"/>
                    <a:gd name="connsiteY3" fmla="*/ 26637 h 143207"/>
                    <a:gd name="connsiteX4" fmla="*/ 213 w 833908"/>
                    <a:gd name="connsiteY4" fmla="*/ 63620 h 1432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908" h="143207">
                      <a:moveTo>
                        <a:pt x="0" y="63620"/>
                      </a:moveTo>
                      <a:cubicBezTo>
                        <a:pt x="0" y="63620"/>
                        <a:pt x="515628" y="181197"/>
                        <a:pt x="760188" y="130532"/>
                      </a:cubicBezTo>
                      <a:cubicBezTo>
                        <a:pt x="1004749" y="79867"/>
                        <a:pt x="568859" y="-3720"/>
                        <a:pt x="492968" y="128"/>
                      </a:cubicBezTo>
                      <a:cubicBezTo>
                        <a:pt x="417077" y="3976"/>
                        <a:pt x="213" y="26637"/>
                        <a:pt x="213" y="26637"/>
                      </a:cubicBezTo>
                      <a:lnTo>
                        <a:pt x="213" y="6362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1" name="Graphic 2">
                  <a:extLst>
                    <a:ext uri="{FF2B5EF4-FFF2-40B4-BE49-F238E27FC236}">
                      <a16:creationId xmlns:a16="http://schemas.microsoft.com/office/drawing/2014/main" id="{635CDEDA-9493-44E6-AA3B-880462F9D63F}"/>
                    </a:ext>
                  </a:extLst>
                </p:cNvPr>
                <p:cNvSpPr/>
                <p:nvPr/>
              </p:nvSpPr>
              <p:spPr>
                <a:xfrm>
                  <a:off x="5622136" y="5277876"/>
                  <a:ext cx="101726" cy="12133"/>
                </a:xfrm>
                <a:custGeom>
                  <a:avLst/>
                  <a:gdLst>
                    <a:gd name="connsiteX0" fmla="*/ 985509 w 985542"/>
                    <a:gd name="connsiteY0" fmla="*/ 38018 h 117542"/>
                    <a:gd name="connsiteX1" fmla="*/ 728336 w 985542"/>
                    <a:gd name="connsiteY1" fmla="*/ 114123 h 117542"/>
                    <a:gd name="connsiteX2" fmla="*/ 0 w 985542"/>
                    <a:gd name="connsiteY2" fmla="*/ 114123 h 117542"/>
                    <a:gd name="connsiteX3" fmla="*/ 0 w 985542"/>
                    <a:gd name="connsiteY3" fmla="*/ 101510 h 117542"/>
                    <a:gd name="connsiteX4" fmla="*/ 779001 w 985542"/>
                    <a:gd name="connsiteY4" fmla="*/ 180 h 117542"/>
                    <a:gd name="connsiteX5" fmla="*/ 985509 w 985542"/>
                    <a:gd name="connsiteY5" fmla="*/ 38018 h 11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5542" h="117542">
                      <a:moveTo>
                        <a:pt x="985509" y="38018"/>
                      </a:moveTo>
                      <a:cubicBezTo>
                        <a:pt x="985509" y="38018"/>
                        <a:pt x="994274" y="106427"/>
                        <a:pt x="728336" y="114123"/>
                      </a:cubicBezTo>
                      <a:cubicBezTo>
                        <a:pt x="462398" y="121818"/>
                        <a:pt x="0" y="114123"/>
                        <a:pt x="0" y="114123"/>
                      </a:cubicBezTo>
                      <a:lnTo>
                        <a:pt x="0" y="101510"/>
                      </a:lnTo>
                      <a:cubicBezTo>
                        <a:pt x="0" y="101510"/>
                        <a:pt x="355938" y="-4951"/>
                        <a:pt x="779001" y="180"/>
                      </a:cubicBezTo>
                      <a:cubicBezTo>
                        <a:pt x="779001" y="-34"/>
                        <a:pt x="984227" y="7448"/>
                        <a:pt x="985509" y="3801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2" name="Graphic 2">
                  <a:extLst>
                    <a:ext uri="{FF2B5EF4-FFF2-40B4-BE49-F238E27FC236}">
                      <a16:creationId xmlns:a16="http://schemas.microsoft.com/office/drawing/2014/main" id="{1AA3D279-D7F3-4946-8E38-588946DED7AD}"/>
                    </a:ext>
                  </a:extLst>
                </p:cNvPr>
                <p:cNvSpPr/>
                <p:nvPr/>
              </p:nvSpPr>
              <p:spPr>
                <a:xfrm>
                  <a:off x="5607529" y="5277012"/>
                  <a:ext cx="11629" cy="7922"/>
                </a:xfrm>
                <a:custGeom>
                  <a:avLst/>
                  <a:gdLst>
                    <a:gd name="connsiteX0" fmla="*/ 56437 w 112661"/>
                    <a:gd name="connsiteY0" fmla="*/ 0 h 76745"/>
                    <a:gd name="connsiteX1" fmla="*/ 56437 w 112661"/>
                    <a:gd name="connsiteY1" fmla="*/ 0 h 76745"/>
                    <a:gd name="connsiteX2" fmla="*/ 0 w 112661"/>
                    <a:gd name="connsiteY2" fmla="*/ 56437 h 76745"/>
                    <a:gd name="connsiteX3" fmla="*/ 0 w 112661"/>
                    <a:gd name="connsiteY3" fmla="*/ 76746 h 76745"/>
                    <a:gd name="connsiteX4" fmla="*/ 112660 w 112661"/>
                    <a:gd name="connsiteY4" fmla="*/ 76746 h 76745"/>
                    <a:gd name="connsiteX5" fmla="*/ 112660 w 112661"/>
                    <a:gd name="connsiteY5" fmla="*/ 56437 h 76745"/>
                    <a:gd name="connsiteX6" fmla="*/ 56437 w 112661"/>
                    <a:gd name="connsiteY6" fmla="*/ 0 h 7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661" h="76745">
                      <a:moveTo>
                        <a:pt x="56437" y="0"/>
                      </a:moveTo>
                      <a:lnTo>
                        <a:pt x="56437" y="0"/>
                      </a:lnTo>
                      <a:cubicBezTo>
                        <a:pt x="25226" y="0"/>
                        <a:pt x="0" y="25226"/>
                        <a:pt x="0" y="56437"/>
                      </a:cubicBezTo>
                      <a:lnTo>
                        <a:pt x="0" y="76746"/>
                      </a:lnTo>
                      <a:lnTo>
                        <a:pt x="112660" y="76746"/>
                      </a:lnTo>
                      <a:lnTo>
                        <a:pt x="112660" y="56437"/>
                      </a:lnTo>
                      <a:cubicBezTo>
                        <a:pt x="112874" y="25226"/>
                        <a:pt x="87648" y="0"/>
                        <a:pt x="56437" y="0"/>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3" name="Graphic 2">
                  <a:extLst>
                    <a:ext uri="{FF2B5EF4-FFF2-40B4-BE49-F238E27FC236}">
                      <a16:creationId xmlns:a16="http://schemas.microsoft.com/office/drawing/2014/main" id="{75C467C1-ED93-48E1-9FCA-5C30946154C0}"/>
                    </a:ext>
                  </a:extLst>
                </p:cNvPr>
                <p:cNvSpPr/>
                <p:nvPr/>
              </p:nvSpPr>
              <p:spPr>
                <a:xfrm>
                  <a:off x="5730682" y="5292195"/>
                  <a:ext cx="20892" cy="30393"/>
                </a:xfrm>
                <a:custGeom>
                  <a:avLst/>
                  <a:gdLst>
                    <a:gd name="connsiteX0" fmla="*/ 202405 w 202404"/>
                    <a:gd name="connsiteY0" fmla="*/ 278106 h 294455"/>
                    <a:gd name="connsiteX1" fmla="*/ 27536 w 202404"/>
                    <a:gd name="connsiteY1" fmla="*/ 624 h 294455"/>
                    <a:gd name="connsiteX2" fmla="*/ 160718 w 202404"/>
                    <a:gd name="connsiteY2" fmla="*/ 293498 h 294455"/>
                    <a:gd name="connsiteX3" fmla="*/ 202405 w 202404"/>
                    <a:gd name="connsiteY3" fmla="*/ 278106 h 294455"/>
                  </a:gdLst>
                  <a:ahLst/>
                  <a:cxnLst>
                    <a:cxn ang="0">
                      <a:pos x="connsiteX0" y="connsiteY0"/>
                    </a:cxn>
                    <a:cxn ang="0">
                      <a:pos x="connsiteX1" y="connsiteY1"/>
                    </a:cxn>
                    <a:cxn ang="0">
                      <a:pos x="connsiteX2" y="connsiteY2"/>
                    </a:cxn>
                    <a:cxn ang="0">
                      <a:pos x="connsiteX3" y="connsiteY3"/>
                    </a:cxn>
                  </a:cxnLst>
                  <a:rect l="l" t="t" r="r" b="b"/>
                  <a:pathLst>
                    <a:path w="202404" h="294455">
                      <a:moveTo>
                        <a:pt x="202405" y="278106"/>
                      </a:moveTo>
                      <a:cubicBezTo>
                        <a:pt x="202405" y="278106"/>
                        <a:pt x="121383" y="15802"/>
                        <a:pt x="27536" y="624"/>
                      </a:cubicBezTo>
                      <a:cubicBezTo>
                        <a:pt x="-66312" y="-14554"/>
                        <a:pt x="105350" y="251811"/>
                        <a:pt x="160718" y="293498"/>
                      </a:cubicBezTo>
                      <a:cubicBezTo>
                        <a:pt x="160932" y="293284"/>
                        <a:pt x="196846" y="300552"/>
                        <a:pt x="202405" y="278106"/>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4" name="Graphic 2">
                  <a:extLst>
                    <a:ext uri="{FF2B5EF4-FFF2-40B4-BE49-F238E27FC236}">
                      <a16:creationId xmlns:a16="http://schemas.microsoft.com/office/drawing/2014/main" id="{B3C4E588-094B-4E35-A155-722CACB733B4}"/>
                    </a:ext>
                  </a:extLst>
                </p:cNvPr>
                <p:cNvSpPr/>
                <p:nvPr/>
              </p:nvSpPr>
              <p:spPr>
                <a:xfrm>
                  <a:off x="5752611" y="5330881"/>
                  <a:ext cx="18739" cy="31594"/>
                </a:xfrm>
                <a:custGeom>
                  <a:avLst/>
                  <a:gdLst>
                    <a:gd name="connsiteX0" fmla="*/ 0 w 181546"/>
                    <a:gd name="connsiteY0" fmla="*/ 14259 h 306086"/>
                    <a:gd name="connsiteX1" fmla="*/ 152209 w 181546"/>
                    <a:gd name="connsiteY1" fmla="*/ 304781 h 306086"/>
                    <a:gd name="connsiteX2" fmla="*/ 42541 w 181546"/>
                    <a:gd name="connsiteY2" fmla="*/ 2288 h 306086"/>
                    <a:gd name="connsiteX3" fmla="*/ 0 w 181546"/>
                    <a:gd name="connsiteY3" fmla="*/ 14259 h 306086"/>
                  </a:gdLst>
                  <a:ahLst/>
                  <a:cxnLst>
                    <a:cxn ang="0">
                      <a:pos x="connsiteX0" y="connsiteY0"/>
                    </a:cxn>
                    <a:cxn ang="0">
                      <a:pos x="connsiteX1" y="connsiteY1"/>
                    </a:cxn>
                    <a:cxn ang="0">
                      <a:pos x="connsiteX2" y="connsiteY2"/>
                    </a:cxn>
                    <a:cxn ang="0">
                      <a:pos x="connsiteX3" y="connsiteY3"/>
                    </a:cxn>
                  </a:cxnLst>
                  <a:rect l="l" t="t" r="r" b="b"/>
                  <a:pathLst>
                    <a:path w="181546" h="306086">
                      <a:moveTo>
                        <a:pt x="0" y="14259"/>
                      </a:moveTo>
                      <a:cubicBezTo>
                        <a:pt x="0" y="14259"/>
                        <a:pt x="60071" y="282121"/>
                        <a:pt x="152209" y="304781"/>
                      </a:cubicBezTo>
                      <a:cubicBezTo>
                        <a:pt x="244346" y="327441"/>
                        <a:pt x="94703" y="48250"/>
                        <a:pt x="42541" y="2288"/>
                      </a:cubicBezTo>
                      <a:cubicBezTo>
                        <a:pt x="42541" y="2288"/>
                        <a:pt x="7268" y="-7760"/>
                        <a:pt x="0" y="14259"/>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5" name="Graphic 2">
                  <a:extLst>
                    <a:ext uri="{FF2B5EF4-FFF2-40B4-BE49-F238E27FC236}">
                      <a16:creationId xmlns:a16="http://schemas.microsoft.com/office/drawing/2014/main" id="{0EB7D33A-827E-43DB-98E4-ABD50492A642}"/>
                    </a:ext>
                  </a:extLst>
                </p:cNvPr>
                <p:cNvSpPr/>
                <p:nvPr/>
              </p:nvSpPr>
              <p:spPr>
                <a:xfrm>
                  <a:off x="5744976" y="5320901"/>
                  <a:ext cx="13195" cy="13195"/>
                </a:xfrm>
                <a:custGeom>
                  <a:avLst/>
                  <a:gdLst>
                    <a:gd name="connsiteX0" fmla="*/ 127838 w 127838"/>
                    <a:gd name="connsiteY0" fmla="*/ 63919 h 127838"/>
                    <a:gd name="connsiteX1" fmla="*/ 63919 w 127838"/>
                    <a:gd name="connsiteY1" fmla="*/ 127838 h 127838"/>
                    <a:gd name="connsiteX2" fmla="*/ 0 w 127838"/>
                    <a:gd name="connsiteY2" fmla="*/ 63919 h 127838"/>
                    <a:gd name="connsiteX3" fmla="*/ 63919 w 127838"/>
                    <a:gd name="connsiteY3" fmla="*/ 0 h 127838"/>
                    <a:gd name="connsiteX4" fmla="*/ 127838 w 127838"/>
                    <a:gd name="connsiteY4" fmla="*/ 63919 h 127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838" h="127838">
                      <a:moveTo>
                        <a:pt x="127838" y="63919"/>
                      </a:moveTo>
                      <a:cubicBezTo>
                        <a:pt x="127838" y="99221"/>
                        <a:pt x="99221" y="127838"/>
                        <a:pt x="63919" y="127838"/>
                      </a:cubicBezTo>
                      <a:cubicBezTo>
                        <a:pt x="28617" y="127838"/>
                        <a:pt x="0" y="99221"/>
                        <a:pt x="0" y="63919"/>
                      </a:cubicBezTo>
                      <a:cubicBezTo>
                        <a:pt x="0" y="28618"/>
                        <a:pt x="28618" y="0"/>
                        <a:pt x="63919" y="0"/>
                      </a:cubicBezTo>
                      <a:cubicBezTo>
                        <a:pt x="99221" y="0"/>
                        <a:pt x="127838" y="28618"/>
                        <a:pt x="127838" y="63919"/>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6" name="Graphic 2">
                  <a:extLst>
                    <a:ext uri="{FF2B5EF4-FFF2-40B4-BE49-F238E27FC236}">
                      <a16:creationId xmlns:a16="http://schemas.microsoft.com/office/drawing/2014/main" id="{9AC041BB-0AD2-4FE0-9F1F-276CC01D5187}"/>
                    </a:ext>
                  </a:extLst>
                </p:cNvPr>
                <p:cNvSpPr/>
                <p:nvPr/>
              </p:nvSpPr>
              <p:spPr>
                <a:xfrm>
                  <a:off x="5747602" y="5322490"/>
                  <a:ext cx="10018" cy="10018"/>
                </a:xfrm>
                <a:custGeom>
                  <a:avLst/>
                  <a:gdLst>
                    <a:gd name="connsiteX0" fmla="*/ 97054 w 97054"/>
                    <a:gd name="connsiteY0" fmla="*/ 48527 h 97054"/>
                    <a:gd name="connsiteX1" fmla="*/ 48527 w 97054"/>
                    <a:gd name="connsiteY1" fmla="*/ 97055 h 97054"/>
                    <a:gd name="connsiteX2" fmla="*/ 0 w 97054"/>
                    <a:gd name="connsiteY2" fmla="*/ 48527 h 97054"/>
                    <a:gd name="connsiteX3" fmla="*/ 48527 w 97054"/>
                    <a:gd name="connsiteY3" fmla="*/ 0 h 97054"/>
                    <a:gd name="connsiteX4" fmla="*/ 97054 w 97054"/>
                    <a:gd name="connsiteY4" fmla="*/ 48527 h 97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054" h="97054">
                      <a:moveTo>
                        <a:pt x="97054" y="48527"/>
                      </a:moveTo>
                      <a:cubicBezTo>
                        <a:pt x="97054" y="75328"/>
                        <a:pt x="75328" y="97055"/>
                        <a:pt x="48527" y="97055"/>
                      </a:cubicBezTo>
                      <a:cubicBezTo>
                        <a:pt x="21726" y="97055"/>
                        <a:pt x="0" y="75328"/>
                        <a:pt x="0" y="48527"/>
                      </a:cubicBezTo>
                      <a:cubicBezTo>
                        <a:pt x="0" y="21726"/>
                        <a:pt x="21726" y="0"/>
                        <a:pt x="48527" y="0"/>
                      </a:cubicBezTo>
                      <a:cubicBezTo>
                        <a:pt x="75328" y="0"/>
                        <a:pt x="97054" y="21726"/>
                        <a:pt x="97054" y="48527"/>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7" name="Graphic 2">
                  <a:extLst>
                    <a:ext uri="{FF2B5EF4-FFF2-40B4-BE49-F238E27FC236}">
                      <a16:creationId xmlns:a16="http://schemas.microsoft.com/office/drawing/2014/main" id="{069061EC-CD71-4CAE-8E85-5F10DF1EFFF4}"/>
                    </a:ext>
                  </a:extLst>
                </p:cNvPr>
                <p:cNvSpPr/>
                <p:nvPr/>
              </p:nvSpPr>
              <p:spPr>
                <a:xfrm>
                  <a:off x="5665010" y="5332922"/>
                  <a:ext cx="85924" cy="43850"/>
                </a:xfrm>
                <a:custGeom>
                  <a:avLst/>
                  <a:gdLst>
                    <a:gd name="connsiteX0" fmla="*/ 832445 w 832444"/>
                    <a:gd name="connsiteY0" fmla="*/ 1763 h 424826"/>
                    <a:gd name="connsiteX1" fmla="*/ 718288 w 832444"/>
                    <a:gd name="connsiteY1" fmla="*/ 303188 h 424826"/>
                    <a:gd name="connsiteX2" fmla="*/ 0 w 832444"/>
                    <a:gd name="connsiteY2" fmla="*/ 424826 h 424826"/>
                    <a:gd name="connsiteX3" fmla="*/ 0 w 832444"/>
                    <a:gd name="connsiteY3" fmla="*/ 264922 h 424826"/>
                    <a:gd name="connsiteX4" fmla="*/ 705676 w 832444"/>
                    <a:gd name="connsiteY4" fmla="*/ 204423 h 424826"/>
                    <a:gd name="connsiteX5" fmla="*/ 811923 w 832444"/>
                    <a:gd name="connsiteY5" fmla="*/ 8604 h 424826"/>
                    <a:gd name="connsiteX6" fmla="*/ 832445 w 832444"/>
                    <a:gd name="connsiteY6" fmla="*/ 1763 h 42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2444" h="424826">
                      <a:moveTo>
                        <a:pt x="832445" y="1763"/>
                      </a:moveTo>
                      <a:cubicBezTo>
                        <a:pt x="831376" y="104803"/>
                        <a:pt x="809143" y="257012"/>
                        <a:pt x="718288" y="303188"/>
                      </a:cubicBezTo>
                      <a:cubicBezTo>
                        <a:pt x="590878" y="367748"/>
                        <a:pt x="0" y="424826"/>
                        <a:pt x="0" y="424826"/>
                      </a:cubicBezTo>
                      <a:lnTo>
                        <a:pt x="0" y="264922"/>
                      </a:lnTo>
                      <a:cubicBezTo>
                        <a:pt x="104750" y="262570"/>
                        <a:pt x="611400" y="248674"/>
                        <a:pt x="705676" y="204423"/>
                      </a:cubicBezTo>
                      <a:cubicBezTo>
                        <a:pt x="810854" y="155040"/>
                        <a:pt x="811923" y="8604"/>
                        <a:pt x="811923" y="8604"/>
                      </a:cubicBezTo>
                      <a:cubicBezTo>
                        <a:pt x="812564" y="-1658"/>
                        <a:pt x="822825" y="-1016"/>
                        <a:pt x="832445" y="176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8" name="Graphic 2">
                  <a:extLst>
                    <a:ext uri="{FF2B5EF4-FFF2-40B4-BE49-F238E27FC236}">
                      <a16:creationId xmlns:a16="http://schemas.microsoft.com/office/drawing/2014/main" id="{54D20349-26A7-4EF4-BE71-72144FD2309B}"/>
                    </a:ext>
                  </a:extLst>
                </p:cNvPr>
                <p:cNvSpPr/>
                <p:nvPr/>
              </p:nvSpPr>
              <p:spPr>
                <a:xfrm>
                  <a:off x="5550745" y="5303999"/>
                  <a:ext cx="119516" cy="112014"/>
                </a:xfrm>
                <a:custGeom>
                  <a:avLst/>
                  <a:gdLst>
                    <a:gd name="connsiteX0" fmla="*/ 1157897 w 1157896"/>
                    <a:gd name="connsiteY0" fmla="*/ 542350 h 1085206"/>
                    <a:gd name="connsiteX1" fmla="*/ 615332 w 1157896"/>
                    <a:gd name="connsiteY1" fmla="*/ 1084915 h 1085206"/>
                    <a:gd name="connsiteX2" fmla="*/ 1153 w 1157896"/>
                    <a:gd name="connsiteY2" fmla="*/ 743300 h 1085206"/>
                    <a:gd name="connsiteX3" fmla="*/ 15048 w 1157896"/>
                    <a:gd name="connsiteY3" fmla="*/ 542564 h 1085206"/>
                    <a:gd name="connsiteX4" fmla="*/ 615332 w 1157896"/>
                    <a:gd name="connsiteY4" fmla="*/ 0 h 1085206"/>
                    <a:gd name="connsiteX5" fmla="*/ 1156401 w 1157896"/>
                    <a:gd name="connsiteY5" fmla="*/ 502588 h 1085206"/>
                    <a:gd name="connsiteX6" fmla="*/ 1157897 w 1157896"/>
                    <a:gd name="connsiteY6" fmla="*/ 542350 h 108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896" h="1085206">
                      <a:moveTo>
                        <a:pt x="1157897" y="542350"/>
                      </a:moveTo>
                      <a:cubicBezTo>
                        <a:pt x="1157897" y="842065"/>
                        <a:pt x="915047" y="1084915"/>
                        <a:pt x="615332" y="1084915"/>
                      </a:cubicBezTo>
                      <a:cubicBezTo>
                        <a:pt x="356236" y="1084915"/>
                        <a:pt x="23172" y="1108002"/>
                        <a:pt x="1153" y="743300"/>
                      </a:cubicBezTo>
                      <a:cubicBezTo>
                        <a:pt x="-2267" y="686436"/>
                        <a:pt x="1794" y="619951"/>
                        <a:pt x="15048" y="542564"/>
                      </a:cubicBezTo>
                      <a:cubicBezTo>
                        <a:pt x="65713" y="244774"/>
                        <a:pt x="315618" y="0"/>
                        <a:pt x="615332" y="0"/>
                      </a:cubicBezTo>
                      <a:cubicBezTo>
                        <a:pt x="901579" y="0"/>
                        <a:pt x="1136092" y="221686"/>
                        <a:pt x="1156401" y="502588"/>
                      </a:cubicBezTo>
                      <a:cubicBezTo>
                        <a:pt x="1157255" y="515628"/>
                        <a:pt x="1157897" y="529096"/>
                        <a:pt x="1157897" y="542350"/>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19" name="Graphic 2">
                  <a:extLst>
                    <a:ext uri="{FF2B5EF4-FFF2-40B4-BE49-F238E27FC236}">
                      <a16:creationId xmlns:a16="http://schemas.microsoft.com/office/drawing/2014/main" id="{D795D409-7827-4CC5-AD6C-396A11811C4B}"/>
                    </a:ext>
                  </a:extLst>
                </p:cNvPr>
                <p:cNvSpPr/>
                <p:nvPr/>
              </p:nvSpPr>
              <p:spPr>
                <a:xfrm>
                  <a:off x="5556976" y="5408767"/>
                  <a:ext cx="10547" cy="21360"/>
                </a:xfrm>
                <a:custGeom>
                  <a:avLst/>
                  <a:gdLst>
                    <a:gd name="connsiteX0" fmla="*/ 102185 w 102185"/>
                    <a:gd name="connsiteY0" fmla="*/ 103468 h 206935"/>
                    <a:gd name="connsiteX1" fmla="*/ 52803 w 102185"/>
                    <a:gd name="connsiteY1" fmla="*/ 206936 h 206935"/>
                    <a:gd name="connsiteX2" fmla="*/ 51093 w 102185"/>
                    <a:gd name="connsiteY2" fmla="*/ 206936 h 206935"/>
                    <a:gd name="connsiteX3" fmla="*/ 47459 w 102185"/>
                    <a:gd name="connsiteY3" fmla="*/ 206722 h 206935"/>
                    <a:gd name="connsiteX4" fmla="*/ 0 w 102185"/>
                    <a:gd name="connsiteY4" fmla="*/ 103468 h 206935"/>
                    <a:gd name="connsiteX5" fmla="*/ 47459 w 102185"/>
                    <a:gd name="connsiteY5" fmla="*/ 214 h 206935"/>
                    <a:gd name="connsiteX6" fmla="*/ 51093 w 102185"/>
                    <a:gd name="connsiteY6" fmla="*/ 0 h 206935"/>
                    <a:gd name="connsiteX7" fmla="*/ 52803 w 102185"/>
                    <a:gd name="connsiteY7" fmla="*/ 0 h 206935"/>
                    <a:gd name="connsiteX8" fmla="*/ 102185 w 102185"/>
                    <a:gd name="connsiteY8" fmla="*/ 103468 h 206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185" h="206935">
                      <a:moveTo>
                        <a:pt x="102185" y="103468"/>
                      </a:moveTo>
                      <a:cubicBezTo>
                        <a:pt x="102185" y="159477"/>
                        <a:pt x="80166" y="205225"/>
                        <a:pt x="52803" y="206936"/>
                      </a:cubicBezTo>
                      <a:cubicBezTo>
                        <a:pt x="52162" y="206936"/>
                        <a:pt x="51734" y="206936"/>
                        <a:pt x="51093" y="206936"/>
                      </a:cubicBezTo>
                      <a:cubicBezTo>
                        <a:pt x="49810" y="206936"/>
                        <a:pt x="48741" y="206936"/>
                        <a:pt x="47459" y="206722"/>
                      </a:cubicBezTo>
                      <a:cubicBezTo>
                        <a:pt x="20950" y="202874"/>
                        <a:pt x="0" y="158194"/>
                        <a:pt x="0" y="103468"/>
                      </a:cubicBezTo>
                      <a:cubicBezTo>
                        <a:pt x="0" y="48741"/>
                        <a:pt x="20950" y="3848"/>
                        <a:pt x="47459" y="214"/>
                      </a:cubicBezTo>
                      <a:cubicBezTo>
                        <a:pt x="48741" y="0"/>
                        <a:pt x="49810" y="0"/>
                        <a:pt x="51093" y="0"/>
                      </a:cubicBezTo>
                      <a:cubicBezTo>
                        <a:pt x="51734" y="0"/>
                        <a:pt x="52162" y="0"/>
                        <a:pt x="52803" y="0"/>
                      </a:cubicBezTo>
                      <a:cubicBezTo>
                        <a:pt x="80380" y="1710"/>
                        <a:pt x="102185" y="47458"/>
                        <a:pt x="102185" y="10346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0" name="Graphic 2">
                  <a:extLst>
                    <a:ext uri="{FF2B5EF4-FFF2-40B4-BE49-F238E27FC236}">
                      <a16:creationId xmlns:a16="http://schemas.microsoft.com/office/drawing/2014/main" id="{33478479-9E42-4A90-AF40-66891346709F}"/>
                    </a:ext>
                  </a:extLst>
                </p:cNvPr>
                <p:cNvSpPr/>
                <p:nvPr/>
              </p:nvSpPr>
              <p:spPr>
                <a:xfrm>
                  <a:off x="5625269" y="5424081"/>
                  <a:ext cx="37401" cy="5737"/>
                </a:xfrm>
                <a:custGeom>
                  <a:avLst/>
                  <a:gdLst>
                    <a:gd name="connsiteX0" fmla="*/ 334560 w 362350"/>
                    <a:gd name="connsiteY0" fmla="*/ 55582 h 55581"/>
                    <a:gd name="connsiteX1" fmla="*/ 0 w 362350"/>
                    <a:gd name="connsiteY1" fmla="*/ 55582 h 55581"/>
                    <a:gd name="connsiteX2" fmla="*/ 0 w 362350"/>
                    <a:gd name="connsiteY2" fmla="*/ 0 h 55581"/>
                    <a:gd name="connsiteX3" fmla="*/ 334560 w 362350"/>
                    <a:gd name="connsiteY3" fmla="*/ 0 h 55581"/>
                    <a:gd name="connsiteX4" fmla="*/ 362351 w 362350"/>
                    <a:gd name="connsiteY4" fmla="*/ 27791 h 55581"/>
                    <a:gd name="connsiteX5" fmla="*/ 362351 w 362350"/>
                    <a:gd name="connsiteY5" fmla="*/ 27791 h 55581"/>
                    <a:gd name="connsiteX6" fmla="*/ 334560 w 362350"/>
                    <a:gd name="connsiteY6" fmla="*/ 55582 h 5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2350" h="55581">
                      <a:moveTo>
                        <a:pt x="334560" y="55582"/>
                      </a:moveTo>
                      <a:lnTo>
                        <a:pt x="0" y="55582"/>
                      </a:lnTo>
                      <a:lnTo>
                        <a:pt x="0" y="0"/>
                      </a:lnTo>
                      <a:lnTo>
                        <a:pt x="334560" y="0"/>
                      </a:lnTo>
                      <a:cubicBezTo>
                        <a:pt x="349952" y="0"/>
                        <a:pt x="362351" y="12399"/>
                        <a:pt x="362351" y="27791"/>
                      </a:cubicBezTo>
                      <a:lnTo>
                        <a:pt x="362351" y="27791"/>
                      </a:lnTo>
                      <a:cubicBezTo>
                        <a:pt x="362137" y="43183"/>
                        <a:pt x="349738" y="55582"/>
                        <a:pt x="334560" y="55582"/>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1" name="Graphic 2">
                  <a:extLst>
                    <a:ext uri="{FF2B5EF4-FFF2-40B4-BE49-F238E27FC236}">
                      <a16:creationId xmlns:a16="http://schemas.microsoft.com/office/drawing/2014/main" id="{1108AB5B-E9F5-4796-A538-6BE77CCEBA38}"/>
                    </a:ext>
                  </a:extLst>
                </p:cNvPr>
                <p:cNvSpPr/>
                <p:nvPr/>
              </p:nvSpPr>
              <p:spPr>
                <a:xfrm>
                  <a:off x="5550202" y="5355853"/>
                  <a:ext cx="120699" cy="60822"/>
                </a:xfrm>
                <a:custGeom>
                  <a:avLst/>
                  <a:gdLst>
                    <a:gd name="connsiteX0" fmla="*/ 1169357 w 1169356"/>
                    <a:gd name="connsiteY0" fmla="*/ 40404 h 589247"/>
                    <a:gd name="connsiteX1" fmla="*/ 620807 w 1169356"/>
                    <a:gd name="connsiteY1" fmla="*/ 588954 h 589247"/>
                    <a:gd name="connsiteX2" fmla="*/ 0 w 1169356"/>
                    <a:gd name="connsiteY2" fmla="*/ 243491 h 589247"/>
                    <a:gd name="connsiteX3" fmla="*/ 63919 w 1169356"/>
                    <a:gd name="connsiteY3" fmla="*/ 232588 h 589247"/>
                    <a:gd name="connsiteX4" fmla="*/ 654370 w 1169356"/>
                    <a:gd name="connsiteY4" fmla="*/ 232588 h 589247"/>
                    <a:gd name="connsiteX5" fmla="*/ 768312 w 1169356"/>
                    <a:gd name="connsiteY5" fmla="*/ 97054 h 589247"/>
                    <a:gd name="connsiteX6" fmla="*/ 1167860 w 1169356"/>
                    <a:gd name="connsiteY6" fmla="*/ 0 h 589247"/>
                    <a:gd name="connsiteX7" fmla="*/ 1169357 w 1169356"/>
                    <a:gd name="connsiteY7" fmla="*/ 40404 h 58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9356" h="589247">
                      <a:moveTo>
                        <a:pt x="1169357" y="40404"/>
                      </a:moveTo>
                      <a:cubicBezTo>
                        <a:pt x="1169357" y="343325"/>
                        <a:pt x="923728" y="588954"/>
                        <a:pt x="620807" y="588954"/>
                      </a:cubicBezTo>
                      <a:cubicBezTo>
                        <a:pt x="358717" y="588954"/>
                        <a:pt x="22233" y="612255"/>
                        <a:pt x="0" y="243491"/>
                      </a:cubicBezTo>
                      <a:cubicBezTo>
                        <a:pt x="14323" y="237078"/>
                        <a:pt x="34632" y="232588"/>
                        <a:pt x="63919" y="232588"/>
                      </a:cubicBezTo>
                      <a:cubicBezTo>
                        <a:pt x="163111" y="232588"/>
                        <a:pt x="543206" y="359358"/>
                        <a:pt x="654370" y="232588"/>
                      </a:cubicBezTo>
                      <a:cubicBezTo>
                        <a:pt x="765533" y="105819"/>
                        <a:pt x="768312" y="97054"/>
                        <a:pt x="768312" y="97054"/>
                      </a:cubicBezTo>
                      <a:cubicBezTo>
                        <a:pt x="768312" y="97054"/>
                        <a:pt x="1135580" y="176579"/>
                        <a:pt x="1167860" y="0"/>
                      </a:cubicBezTo>
                      <a:cubicBezTo>
                        <a:pt x="1168929" y="13468"/>
                        <a:pt x="1169357" y="26936"/>
                        <a:pt x="1169357" y="40404"/>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2" name="Graphic 2">
                  <a:extLst>
                    <a:ext uri="{FF2B5EF4-FFF2-40B4-BE49-F238E27FC236}">
                      <a16:creationId xmlns:a16="http://schemas.microsoft.com/office/drawing/2014/main" id="{CA4502F4-6B75-436D-B718-74372D914E52}"/>
                    </a:ext>
                  </a:extLst>
                </p:cNvPr>
                <p:cNvSpPr/>
                <p:nvPr/>
              </p:nvSpPr>
              <p:spPr>
                <a:xfrm>
                  <a:off x="5549874" y="5305234"/>
                  <a:ext cx="80732" cy="81264"/>
                </a:xfrm>
                <a:custGeom>
                  <a:avLst/>
                  <a:gdLst>
                    <a:gd name="connsiteX0" fmla="*/ 771699 w 782149"/>
                    <a:gd name="connsiteY0" fmla="*/ 587672 h 787299"/>
                    <a:gd name="connsiteX1" fmla="*/ 553006 w 782149"/>
                    <a:gd name="connsiteY1" fmla="*/ 785201 h 787299"/>
                    <a:gd name="connsiteX2" fmla="*/ 80560 w 782149"/>
                    <a:gd name="connsiteY2" fmla="*/ 731971 h 787299"/>
                    <a:gd name="connsiteX3" fmla="*/ 3387 w 782149"/>
                    <a:gd name="connsiteY3" fmla="*/ 745866 h 787299"/>
                    <a:gd name="connsiteX4" fmla="*/ 1463 w 782149"/>
                    <a:gd name="connsiteY4" fmla="*/ 722992 h 787299"/>
                    <a:gd name="connsiteX5" fmla="*/ 490583 w 782149"/>
                    <a:gd name="connsiteY5" fmla="*/ 2352 h 787299"/>
                    <a:gd name="connsiteX6" fmla="*/ 501058 w 782149"/>
                    <a:gd name="connsiteY6" fmla="*/ 1 h 787299"/>
                    <a:gd name="connsiteX7" fmla="*/ 771699 w 782149"/>
                    <a:gd name="connsiteY7" fmla="*/ 587672 h 78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2149" h="787299">
                      <a:moveTo>
                        <a:pt x="771699" y="587672"/>
                      </a:moveTo>
                      <a:cubicBezTo>
                        <a:pt x="771699" y="587672"/>
                        <a:pt x="684906" y="770023"/>
                        <a:pt x="553006" y="785201"/>
                      </a:cubicBezTo>
                      <a:cubicBezTo>
                        <a:pt x="421106" y="800379"/>
                        <a:pt x="117116" y="728123"/>
                        <a:pt x="80560" y="731971"/>
                      </a:cubicBezTo>
                      <a:cubicBezTo>
                        <a:pt x="43790" y="735819"/>
                        <a:pt x="3387" y="745866"/>
                        <a:pt x="3387" y="745866"/>
                      </a:cubicBezTo>
                      <a:cubicBezTo>
                        <a:pt x="3387" y="745866"/>
                        <a:pt x="2318" y="737743"/>
                        <a:pt x="1463" y="722992"/>
                      </a:cubicBezTo>
                      <a:cubicBezTo>
                        <a:pt x="-5592" y="610974"/>
                        <a:pt x="-6874" y="120571"/>
                        <a:pt x="490583" y="2352"/>
                      </a:cubicBezTo>
                      <a:cubicBezTo>
                        <a:pt x="494004" y="1497"/>
                        <a:pt x="497424" y="642"/>
                        <a:pt x="501058" y="1"/>
                      </a:cubicBezTo>
                      <a:cubicBezTo>
                        <a:pt x="500844" y="-213"/>
                        <a:pt x="845879" y="42328"/>
                        <a:pt x="771699" y="58767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3" name="Graphic 2">
                  <a:extLst>
                    <a:ext uri="{FF2B5EF4-FFF2-40B4-BE49-F238E27FC236}">
                      <a16:creationId xmlns:a16="http://schemas.microsoft.com/office/drawing/2014/main" id="{E9F8F9DD-DA96-4BA9-8131-90CEC69A3926}"/>
                    </a:ext>
                  </a:extLst>
                </p:cNvPr>
                <p:cNvSpPr/>
                <p:nvPr/>
              </p:nvSpPr>
              <p:spPr>
                <a:xfrm rot="19561339">
                  <a:off x="5647155" y="5390419"/>
                  <a:ext cx="10062" cy="9003"/>
                </a:xfrm>
                <a:custGeom>
                  <a:avLst/>
                  <a:gdLst>
                    <a:gd name="connsiteX0" fmla="*/ 97487 w 97487"/>
                    <a:gd name="connsiteY0" fmla="*/ 43613 h 87225"/>
                    <a:gd name="connsiteX1" fmla="*/ 48744 w 97487"/>
                    <a:gd name="connsiteY1" fmla="*/ 87225 h 87225"/>
                    <a:gd name="connsiteX2" fmla="*/ 0 w 97487"/>
                    <a:gd name="connsiteY2" fmla="*/ 43613 h 87225"/>
                    <a:gd name="connsiteX3" fmla="*/ 48744 w 97487"/>
                    <a:gd name="connsiteY3" fmla="*/ 0 h 87225"/>
                    <a:gd name="connsiteX4" fmla="*/ 97487 w 97487"/>
                    <a:gd name="connsiteY4" fmla="*/ 43613 h 87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87" h="87225">
                      <a:moveTo>
                        <a:pt x="97487" y="43613"/>
                      </a:moveTo>
                      <a:cubicBezTo>
                        <a:pt x="97487" y="67699"/>
                        <a:pt x="75664" y="87225"/>
                        <a:pt x="48744" y="87225"/>
                      </a:cubicBezTo>
                      <a:cubicBezTo>
                        <a:pt x="21823" y="87225"/>
                        <a:pt x="0" y="67699"/>
                        <a:pt x="0" y="43613"/>
                      </a:cubicBezTo>
                      <a:cubicBezTo>
                        <a:pt x="0" y="19526"/>
                        <a:pt x="21823" y="0"/>
                        <a:pt x="48744" y="0"/>
                      </a:cubicBezTo>
                      <a:cubicBezTo>
                        <a:pt x="75664" y="0"/>
                        <a:pt x="97487" y="19526"/>
                        <a:pt x="97487" y="43613"/>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4" name="Graphic 2">
                  <a:extLst>
                    <a:ext uri="{FF2B5EF4-FFF2-40B4-BE49-F238E27FC236}">
                      <a16:creationId xmlns:a16="http://schemas.microsoft.com/office/drawing/2014/main" id="{73FF90EB-1BF5-4408-B097-9AC39D714E30}"/>
                    </a:ext>
                  </a:extLst>
                </p:cNvPr>
                <p:cNvSpPr/>
                <p:nvPr/>
              </p:nvSpPr>
              <p:spPr>
                <a:xfrm>
                  <a:off x="5650777" y="5392787"/>
                  <a:ext cx="16876" cy="49101"/>
                </a:xfrm>
                <a:custGeom>
                  <a:avLst/>
                  <a:gdLst>
                    <a:gd name="connsiteX0" fmla="*/ 1074 w 163496"/>
                    <a:gd name="connsiteY0" fmla="*/ 58403 h 475694"/>
                    <a:gd name="connsiteX1" fmla="*/ 80813 w 163496"/>
                    <a:gd name="connsiteY1" fmla="*/ 241823 h 475694"/>
                    <a:gd name="connsiteX2" fmla="*/ 94067 w 163496"/>
                    <a:gd name="connsiteY2" fmla="*/ 475694 h 475694"/>
                    <a:gd name="connsiteX3" fmla="*/ 163330 w 163496"/>
                    <a:gd name="connsiteY3" fmla="*/ 475694 h 475694"/>
                    <a:gd name="connsiteX4" fmla="*/ 99625 w 163496"/>
                    <a:gd name="connsiteY4" fmla="*/ 93462 h 475694"/>
                    <a:gd name="connsiteX5" fmla="*/ 37843 w 163496"/>
                    <a:gd name="connsiteY5" fmla="*/ 1538 h 475694"/>
                    <a:gd name="connsiteX6" fmla="*/ 1074 w 163496"/>
                    <a:gd name="connsiteY6" fmla="*/ 58403 h 475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496" h="475694">
                      <a:moveTo>
                        <a:pt x="1074" y="58403"/>
                      </a:moveTo>
                      <a:cubicBezTo>
                        <a:pt x="1074" y="58403"/>
                        <a:pt x="68841" y="141134"/>
                        <a:pt x="80813" y="241823"/>
                      </a:cubicBezTo>
                      <a:cubicBezTo>
                        <a:pt x="95136" y="360682"/>
                        <a:pt x="94067" y="475694"/>
                        <a:pt x="94067" y="475694"/>
                      </a:cubicBezTo>
                      <a:lnTo>
                        <a:pt x="163330" y="475694"/>
                      </a:lnTo>
                      <a:cubicBezTo>
                        <a:pt x="163330" y="475694"/>
                        <a:pt x="169957" y="206763"/>
                        <a:pt x="99625" y="93462"/>
                      </a:cubicBezTo>
                      <a:cubicBezTo>
                        <a:pt x="51953" y="16716"/>
                        <a:pt x="37843" y="1538"/>
                        <a:pt x="37843" y="1538"/>
                      </a:cubicBezTo>
                      <a:cubicBezTo>
                        <a:pt x="37843" y="1538"/>
                        <a:pt x="-7477" y="-14709"/>
                        <a:pt x="1074" y="58403"/>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5" name="Graphic 2">
                  <a:extLst>
                    <a:ext uri="{FF2B5EF4-FFF2-40B4-BE49-F238E27FC236}">
                      <a16:creationId xmlns:a16="http://schemas.microsoft.com/office/drawing/2014/main" id="{9E4F213D-C7F7-4D21-B442-10AE860632A8}"/>
                    </a:ext>
                  </a:extLst>
                </p:cNvPr>
                <p:cNvSpPr/>
                <p:nvPr/>
              </p:nvSpPr>
              <p:spPr>
                <a:xfrm>
                  <a:off x="5608764" y="5399147"/>
                  <a:ext cx="12577" cy="12577"/>
                </a:xfrm>
                <a:custGeom>
                  <a:avLst/>
                  <a:gdLst>
                    <a:gd name="connsiteX0" fmla="*/ 121853 w 121852"/>
                    <a:gd name="connsiteY0" fmla="*/ 60926 h 121852"/>
                    <a:gd name="connsiteX1" fmla="*/ 60926 w 121852"/>
                    <a:gd name="connsiteY1" fmla="*/ 121852 h 121852"/>
                    <a:gd name="connsiteX2" fmla="*/ 0 w 121852"/>
                    <a:gd name="connsiteY2" fmla="*/ 60926 h 121852"/>
                    <a:gd name="connsiteX3" fmla="*/ 60926 w 121852"/>
                    <a:gd name="connsiteY3" fmla="*/ 0 h 121852"/>
                    <a:gd name="connsiteX4" fmla="*/ 121853 w 121852"/>
                    <a:gd name="connsiteY4" fmla="*/ 60926 h 121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52" h="121852">
                      <a:moveTo>
                        <a:pt x="121853" y="60926"/>
                      </a:moveTo>
                      <a:cubicBezTo>
                        <a:pt x="121853" y="94575"/>
                        <a:pt x="94575" y="121852"/>
                        <a:pt x="60926" y="121852"/>
                      </a:cubicBezTo>
                      <a:cubicBezTo>
                        <a:pt x="27278" y="121852"/>
                        <a:pt x="0" y="94575"/>
                        <a:pt x="0" y="60926"/>
                      </a:cubicBezTo>
                      <a:cubicBezTo>
                        <a:pt x="0" y="27278"/>
                        <a:pt x="27278" y="0"/>
                        <a:pt x="60926" y="0"/>
                      </a:cubicBezTo>
                      <a:cubicBezTo>
                        <a:pt x="94575" y="0"/>
                        <a:pt x="121853" y="27278"/>
                        <a:pt x="121853" y="60926"/>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6" name="Graphic 2">
                  <a:extLst>
                    <a:ext uri="{FF2B5EF4-FFF2-40B4-BE49-F238E27FC236}">
                      <a16:creationId xmlns:a16="http://schemas.microsoft.com/office/drawing/2014/main" id="{DDA0BE19-C3B5-4821-9391-C4A068F3FE16}"/>
                    </a:ext>
                  </a:extLst>
                </p:cNvPr>
                <p:cNvSpPr/>
                <p:nvPr/>
              </p:nvSpPr>
              <p:spPr>
                <a:xfrm>
                  <a:off x="5611858" y="5402465"/>
                  <a:ext cx="15558" cy="39445"/>
                </a:xfrm>
                <a:custGeom>
                  <a:avLst/>
                  <a:gdLst>
                    <a:gd name="connsiteX0" fmla="*/ 5732 w 150732"/>
                    <a:gd name="connsiteY0" fmla="*/ 48448 h 382152"/>
                    <a:gd name="connsiteX1" fmla="*/ 74140 w 150732"/>
                    <a:gd name="connsiteY1" fmla="*/ 171370 h 382152"/>
                    <a:gd name="connsiteX2" fmla="*/ 74140 w 150732"/>
                    <a:gd name="connsiteY2" fmla="*/ 382153 h 382152"/>
                    <a:gd name="connsiteX3" fmla="*/ 150244 w 150732"/>
                    <a:gd name="connsiteY3" fmla="*/ 382153 h 382152"/>
                    <a:gd name="connsiteX4" fmla="*/ 112193 w 150732"/>
                    <a:gd name="connsiteY4" fmla="*/ 77094 h 382152"/>
                    <a:gd name="connsiteX5" fmla="*/ 20910 w 150732"/>
                    <a:gd name="connsiteY5" fmla="*/ 2059 h 382152"/>
                    <a:gd name="connsiteX6" fmla="*/ 5732 w 150732"/>
                    <a:gd name="connsiteY6" fmla="*/ 48448 h 38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732" h="382152">
                      <a:moveTo>
                        <a:pt x="5732" y="48448"/>
                      </a:moveTo>
                      <a:cubicBezTo>
                        <a:pt x="5732" y="48448"/>
                        <a:pt x="70292" y="105954"/>
                        <a:pt x="74140" y="171370"/>
                      </a:cubicBezTo>
                      <a:cubicBezTo>
                        <a:pt x="77988" y="236571"/>
                        <a:pt x="74140" y="382153"/>
                        <a:pt x="74140" y="382153"/>
                      </a:cubicBezTo>
                      <a:lnTo>
                        <a:pt x="150244" y="382153"/>
                      </a:lnTo>
                      <a:cubicBezTo>
                        <a:pt x="150244" y="382153"/>
                        <a:pt x="157940" y="160681"/>
                        <a:pt x="112193" y="77094"/>
                      </a:cubicBezTo>
                      <a:cubicBezTo>
                        <a:pt x="66658" y="-6492"/>
                        <a:pt x="37157" y="-2644"/>
                        <a:pt x="20910" y="2059"/>
                      </a:cubicBezTo>
                      <a:cubicBezTo>
                        <a:pt x="4663" y="6548"/>
                        <a:pt x="-7736" y="34980"/>
                        <a:pt x="5732" y="48448"/>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7" name="Graphic 2">
                  <a:extLst>
                    <a:ext uri="{FF2B5EF4-FFF2-40B4-BE49-F238E27FC236}">
                      <a16:creationId xmlns:a16="http://schemas.microsoft.com/office/drawing/2014/main" id="{2F5B9AA5-6C9B-4623-ACA0-E7065FA6B256}"/>
                    </a:ext>
                  </a:extLst>
                </p:cNvPr>
                <p:cNvSpPr/>
                <p:nvPr/>
              </p:nvSpPr>
              <p:spPr>
                <a:xfrm>
                  <a:off x="5549874" y="5305477"/>
                  <a:ext cx="77526" cy="78704"/>
                </a:xfrm>
                <a:custGeom>
                  <a:avLst/>
                  <a:gdLst>
                    <a:gd name="connsiteX0" fmla="*/ 749468 w 751089"/>
                    <a:gd name="connsiteY0" fmla="*/ 481852 h 762488"/>
                    <a:gd name="connsiteX1" fmla="*/ 679135 w 751089"/>
                    <a:gd name="connsiteY1" fmla="*/ 663348 h 762488"/>
                    <a:gd name="connsiteX2" fmla="*/ 528637 w 751089"/>
                    <a:gd name="connsiteY2" fmla="*/ 760402 h 762488"/>
                    <a:gd name="connsiteX3" fmla="*/ 379421 w 751089"/>
                    <a:gd name="connsiteY3" fmla="*/ 755058 h 762488"/>
                    <a:gd name="connsiteX4" fmla="*/ 138281 w 751089"/>
                    <a:gd name="connsiteY4" fmla="*/ 717220 h 762488"/>
                    <a:gd name="connsiteX5" fmla="*/ 69659 w 751089"/>
                    <a:gd name="connsiteY5" fmla="*/ 708668 h 762488"/>
                    <a:gd name="connsiteX6" fmla="*/ 1464 w 751089"/>
                    <a:gd name="connsiteY6" fmla="*/ 720640 h 762488"/>
                    <a:gd name="connsiteX7" fmla="*/ 489515 w 751089"/>
                    <a:gd name="connsiteY7" fmla="*/ 214 h 762488"/>
                    <a:gd name="connsiteX8" fmla="*/ 490584 w 751089"/>
                    <a:gd name="connsiteY8" fmla="*/ 0 h 762488"/>
                    <a:gd name="connsiteX9" fmla="*/ 749468 w 751089"/>
                    <a:gd name="connsiteY9" fmla="*/ 481852 h 76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1089" h="762488">
                      <a:moveTo>
                        <a:pt x="749468" y="481852"/>
                      </a:moveTo>
                      <a:cubicBezTo>
                        <a:pt x="745620" y="548336"/>
                        <a:pt x="721463" y="612042"/>
                        <a:pt x="679135" y="663348"/>
                      </a:cubicBezTo>
                      <a:cubicBezTo>
                        <a:pt x="642152" y="708027"/>
                        <a:pt x="590418" y="753134"/>
                        <a:pt x="528637" y="760402"/>
                      </a:cubicBezTo>
                      <a:cubicBezTo>
                        <a:pt x="490157" y="764892"/>
                        <a:pt x="436499" y="761685"/>
                        <a:pt x="379421" y="755058"/>
                      </a:cubicBezTo>
                      <a:cubicBezTo>
                        <a:pt x="293910" y="745224"/>
                        <a:pt x="200704" y="727695"/>
                        <a:pt x="138281" y="717220"/>
                      </a:cubicBezTo>
                      <a:cubicBezTo>
                        <a:pt x="103649" y="711448"/>
                        <a:pt x="78637" y="707813"/>
                        <a:pt x="69659" y="708668"/>
                      </a:cubicBezTo>
                      <a:cubicBezTo>
                        <a:pt x="42937" y="711448"/>
                        <a:pt x="14291" y="717647"/>
                        <a:pt x="1464" y="720640"/>
                      </a:cubicBezTo>
                      <a:cubicBezTo>
                        <a:pt x="-5590" y="608835"/>
                        <a:pt x="-6873" y="118860"/>
                        <a:pt x="489515" y="214"/>
                      </a:cubicBezTo>
                      <a:cubicBezTo>
                        <a:pt x="490157" y="0"/>
                        <a:pt x="490584" y="0"/>
                        <a:pt x="490584" y="0"/>
                      </a:cubicBezTo>
                      <a:cubicBezTo>
                        <a:pt x="546594" y="12827"/>
                        <a:pt x="772342" y="89786"/>
                        <a:pt x="749468" y="48185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8" name="Graphic 2">
                  <a:extLst>
                    <a:ext uri="{FF2B5EF4-FFF2-40B4-BE49-F238E27FC236}">
                      <a16:creationId xmlns:a16="http://schemas.microsoft.com/office/drawing/2014/main" id="{D99952FB-E6E1-4938-9161-2D86EEFD2C11}"/>
                    </a:ext>
                  </a:extLst>
                </p:cNvPr>
                <p:cNvSpPr/>
                <p:nvPr/>
              </p:nvSpPr>
              <p:spPr>
                <a:xfrm>
                  <a:off x="5285894" y="5324411"/>
                  <a:ext cx="49984" cy="20012"/>
                </a:xfrm>
                <a:custGeom>
                  <a:avLst/>
                  <a:gdLst>
                    <a:gd name="connsiteX0" fmla="*/ 9241 w 484252"/>
                    <a:gd name="connsiteY0" fmla="*/ 92975 h 193877"/>
                    <a:gd name="connsiteX1" fmla="*/ 484253 w 484252"/>
                    <a:gd name="connsiteY1" fmla="*/ 1479 h 193877"/>
                    <a:gd name="connsiteX2" fmla="*/ 425892 w 484252"/>
                    <a:gd name="connsiteY2" fmla="*/ 114139 h 193877"/>
                    <a:gd name="connsiteX3" fmla="*/ 410714 w 484252"/>
                    <a:gd name="connsiteY3" fmla="*/ 125469 h 193877"/>
                    <a:gd name="connsiteX4" fmla="*/ 410714 w 484252"/>
                    <a:gd name="connsiteY4" fmla="*/ 151977 h 193877"/>
                    <a:gd name="connsiteX5" fmla="*/ 91545 w 484252"/>
                    <a:gd name="connsiteY5" fmla="*/ 193877 h 193877"/>
                    <a:gd name="connsiteX6" fmla="*/ 73802 w 484252"/>
                    <a:gd name="connsiteY6" fmla="*/ 164804 h 193877"/>
                    <a:gd name="connsiteX7" fmla="*/ 9241 w 484252"/>
                    <a:gd name="connsiteY7" fmla="*/ 92975 h 193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252" h="193877">
                      <a:moveTo>
                        <a:pt x="9241" y="92975"/>
                      </a:moveTo>
                      <a:cubicBezTo>
                        <a:pt x="9241" y="92975"/>
                        <a:pt x="249954" y="-13699"/>
                        <a:pt x="484253" y="1479"/>
                      </a:cubicBezTo>
                      <a:cubicBezTo>
                        <a:pt x="484253" y="1479"/>
                        <a:pt x="472922" y="78652"/>
                        <a:pt x="425892" y="114139"/>
                      </a:cubicBezTo>
                      <a:lnTo>
                        <a:pt x="410714" y="125469"/>
                      </a:lnTo>
                      <a:lnTo>
                        <a:pt x="410714" y="151977"/>
                      </a:lnTo>
                      <a:lnTo>
                        <a:pt x="91545" y="193877"/>
                      </a:lnTo>
                      <a:lnTo>
                        <a:pt x="73802" y="164804"/>
                      </a:lnTo>
                      <a:cubicBezTo>
                        <a:pt x="74016" y="164804"/>
                        <a:pt x="-31162" y="131241"/>
                        <a:pt x="9241" y="92975"/>
                      </a:cubicBez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29" name="Graphic 2">
                  <a:extLst>
                    <a:ext uri="{FF2B5EF4-FFF2-40B4-BE49-F238E27FC236}">
                      <a16:creationId xmlns:a16="http://schemas.microsoft.com/office/drawing/2014/main" id="{C887651A-8A26-4C1B-8D7D-43392DEBC096}"/>
                    </a:ext>
                  </a:extLst>
                </p:cNvPr>
                <p:cNvSpPr/>
                <p:nvPr/>
              </p:nvSpPr>
              <p:spPr>
                <a:xfrm>
                  <a:off x="5295365" y="5340120"/>
                  <a:ext cx="42057" cy="4303"/>
                </a:xfrm>
                <a:custGeom>
                  <a:avLst/>
                  <a:gdLst>
                    <a:gd name="connsiteX0" fmla="*/ 407458 w 407457"/>
                    <a:gd name="connsiteY0" fmla="*/ 32922 h 41686"/>
                    <a:gd name="connsiteX1" fmla="*/ 0 w 407457"/>
                    <a:gd name="connsiteY1" fmla="*/ 41686 h 41686"/>
                    <a:gd name="connsiteX2" fmla="*/ 319168 w 407457"/>
                    <a:gd name="connsiteY2" fmla="*/ 0 h 41686"/>
                  </a:gdLst>
                  <a:ahLst/>
                  <a:cxnLst>
                    <a:cxn ang="0">
                      <a:pos x="connsiteX0" y="connsiteY0"/>
                    </a:cxn>
                    <a:cxn ang="0">
                      <a:pos x="connsiteX1" y="connsiteY1"/>
                    </a:cxn>
                    <a:cxn ang="0">
                      <a:pos x="connsiteX2" y="connsiteY2"/>
                    </a:cxn>
                  </a:cxnLst>
                  <a:rect l="l" t="t" r="r" b="b"/>
                  <a:pathLst>
                    <a:path w="407457" h="41686">
                      <a:moveTo>
                        <a:pt x="407458" y="32922"/>
                      </a:moveTo>
                      <a:lnTo>
                        <a:pt x="0" y="41686"/>
                      </a:lnTo>
                      <a:lnTo>
                        <a:pt x="319168" y="0"/>
                      </a:ln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0" name="Graphic 2">
                  <a:extLst>
                    <a:ext uri="{FF2B5EF4-FFF2-40B4-BE49-F238E27FC236}">
                      <a16:creationId xmlns:a16="http://schemas.microsoft.com/office/drawing/2014/main" id="{27325092-BED8-4443-BCA3-7E1B5D64C82E}"/>
                    </a:ext>
                  </a:extLst>
                </p:cNvPr>
                <p:cNvSpPr/>
                <p:nvPr/>
              </p:nvSpPr>
              <p:spPr>
                <a:xfrm>
                  <a:off x="5297814" y="5343695"/>
                  <a:ext cx="33312" cy="28449"/>
                </a:xfrm>
                <a:custGeom>
                  <a:avLst/>
                  <a:gdLst>
                    <a:gd name="connsiteX0" fmla="*/ 302921 w 322736"/>
                    <a:gd name="connsiteY0" fmla="*/ 7055 h 275621"/>
                    <a:gd name="connsiteX1" fmla="*/ 316816 w 322736"/>
                    <a:gd name="connsiteY1" fmla="*/ 162898 h 275621"/>
                    <a:gd name="connsiteX2" fmla="*/ 211639 w 322736"/>
                    <a:gd name="connsiteY2" fmla="*/ 274275 h 275621"/>
                    <a:gd name="connsiteX3" fmla="*/ 0 w 322736"/>
                    <a:gd name="connsiteY3" fmla="*/ 187054 h 275621"/>
                    <a:gd name="connsiteX4" fmla="*/ 39335 w 322736"/>
                    <a:gd name="connsiteY4" fmla="*/ 141306 h 275621"/>
                    <a:gd name="connsiteX5" fmla="*/ 53230 w 322736"/>
                    <a:gd name="connsiteY5" fmla="*/ 70332 h 275621"/>
                    <a:gd name="connsiteX6" fmla="*/ 92565 w 322736"/>
                    <a:gd name="connsiteY6" fmla="*/ 86793 h 275621"/>
                    <a:gd name="connsiteX7" fmla="*/ 148361 w 322736"/>
                    <a:gd name="connsiteY7" fmla="*/ 3207 h 275621"/>
                    <a:gd name="connsiteX8" fmla="*/ 299073 w 322736"/>
                    <a:gd name="connsiteY8" fmla="*/ 0 h 275621"/>
                    <a:gd name="connsiteX9" fmla="*/ 302921 w 322736"/>
                    <a:gd name="connsiteY9" fmla="*/ 7055 h 27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736" h="275621">
                      <a:moveTo>
                        <a:pt x="302921" y="7055"/>
                      </a:moveTo>
                      <a:cubicBezTo>
                        <a:pt x="302921" y="7055"/>
                        <a:pt x="335843" y="104537"/>
                        <a:pt x="316816" y="162898"/>
                      </a:cubicBezTo>
                      <a:cubicBezTo>
                        <a:pt x="297790" y="221259"/>
                        <a:pt x="252256" y="267434"/>
                        <a:pt x="211639" y="274275"/>
                      </a:cubicBezTo>
                      <a:cubicBezTo>
                        <a:pt x="171021" y="281330"/>
                        <a:pt x="34204" y="261876"/>
                        <a:pt x="0" y="187054"/>
                      </a:cubicBezTo>
                      <a:lnTo>
                        <a:pt x="39335" y="141306"/>
                      </a:lnTo>
                      <a:cubicBezTo>
                        <a:pt x="39335" y="141306"/>
                        <a:pt x="19026" y="76746"/>
                        <a:pt x="53230" y="70332"/>
                      </a:cubicBezTo>
                      <a:cubicBezTo>
                        <a:pt x="87435" y="63919"/>
                        <a:pt x="92565" y="86793"/>
                        <a:pt x="92565" y="86793"/>
                      </a:cubicBezTo>
                      <a:lnTo>
                        <a:pt x="148361" y="3207"/>
                      </a:lnTo>
                      <a:lnTo>
                        <a:pt x="299073" y="0"/>
                      </a:lnTo>
                      <a:lnTo>
                        <a:pt x="302921" y="7055"/>
                      </a:lnTo>
                      <a:close/>
                    </a:path>
                  </a:pathLst>
                </a:custGeom>
                <a:solidFill>
                  <a:srgbClr val="D96930"/>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1" name="Graphic 2">
                  <a:extLst>
                    <a:ext uri="{FF2B5EF4-FFF2-40B4-BE49-F238E27FC236}">
                      <a16:creationId xmlns:a16="http://schemas.microsoft.com/office/drawing/2014/main" id="{988D4BAB-BBF0-4E83-933D-EABBE2D98937}"/>
                    </a:ext>
                  </a:extLst>
                </p:cNvPr>
                <p:cNvSpPr/>
                <p:nvPr/>
              </p:nvSpPr>
              <p:spPr>
                <a:xfrm>
                  <a:off x="5294390" y="5344026"/>
                  <a:ext cx="18782" cy="18977"/>
                </a:xfrm>
                <a:custGeom>
                  <a:avLst/>
                  <a:gdLst>
                    <a:gd name="connsiteX0" fmla="*/ 9446 w 181963"/>
                    <a:gd name="connsiteY0" fmla="*/ 3848 h 183847"/>
                    <a:gd name="connsiteX1" fmla="*/ 33603 w 181963"/>
                    <a:gd name="connsiteY1" fmla="*/ 183848 h 183847"/>
                    <a:gd name="connsiteX2" fmla="*/ 72937 w 181963"/>
                    <a:gd name="connsiteY2" fmla="*/ 138100 h 183847"/>
                    <a:gd name="connsiteX3" fmla="*/ 82557 w 181963"/>
                    <a:gd name="connsiteY3" fmla="*/ 68408 h 183847"/>
                    <a:gd name="connsiteX4" fmla="*/ 126168 w 181963"/>
                    <a:gd name="connsiteY4" fmla="*/ 83587 h 183847"/>
                    <a:gd name="connsiteX5" fmla="*/ 181963 w 181963"/>
                    <a:gd name="connsiteY5" fmla="*/ 0 h 183847"/>
                    <a:gd name="connsiteX6" fmla="*/ 9446 w 181963"/>
                    <a:gd name="connsiteY6" fmla="*/ 3848 h 18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963" h="183847">
                      <a:moveTo>
                        <a:pt x="9446" y="3848"/>
                      </a:moveTo>
                      <a:cubicBezTo>
                        <a:pt x="9446" y="3848"/>
                        <a:pt x="-23476" y="140023"/>
                        <a:pt x="33603" y="183848"/>
                      </a:cubicBezTo>
                      <a:lnTo>
                        <a:pt x="72937" y="138100"/>
                      </a:lnTo>
                      <a:cubicBezTo>
                        <a:pt x="72937" y="138100"/>
                        <a:pt x="55835" y="85297"/>
                        <a:pt x="82557" y="68408"/>
                      </a:cubicBezTo>
                      <a:cubicBezTo>
                        <a:pt x="82557" y="68408"/>
                        <a:pt x="109921" y="59857"/>
                        <a:pt x="126168" y="83587"/>
                      </a:cubicBezTo>
                      <a:lnTo>
                        <a:pt x="181963" y="0"/>
                      </a:lnTo>
                      <a:lnTo>
                        <a:pt x="9446" y="3848"/>
                      </a:lnTo>
                      <a:close/>
                    </a:path>
                  </a:pathLst>
                </a:custGeom>
                <a:solidFill>
                  <a:schemeClr val="bg1">
                    <a:lumMod val="7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2" name="Graphic 2">
                  <a:extLst>
                    <a:ext uri="{FF2B5EF4-FFF2-40B4-BE49-F238E27FC236}">
                      <a16:creationId xmlns:a16="http://schemas.microsoft.com/office/drawing/2014/main" id="{D63E6F75-C539-484E-9648-4841A522EA11}"/>
                    </a:ext>
                  </a:extLst>
                </p:cNvPr>
                <p:cNvSpPr/>
                <p:nvPr/>
              </p:nvSpPr>
              <p:spPr>
                <a:xfrm>
                  <a:off x="5564147" y="5305455"/>
                  <a:ext cx="63253" cy="78726"/>
                </a:xfrm>
                <a:custGeom>
                  <a:avLst/>
                  <a:gdLst>
                    <a:gd name="connsiteX0" fmla="*/ 611187 w 612808"/>
                    <a:gd name="connsiteY0" fmla="*/ 482066 h 762701"/>
                    <a:gd name="connsiteX1" fmla="*/ 540854 w 612808"/>
                    <a:gd name="connsiteY1" fmla="*/ 663562 h 762701"/>
                    <a:gd name="connsiteX2" fmla="*/ 390356 w 612808"/>
                    <a:gd name="connsiteY2" fmla="*/ 760616 h 762701"/>
                    <a:gd name="connsiteX3" fmla="*/ 241140 w 612808"/>
                    <a:gd name="connsiteY3" fmla="*/ 755272 h 762701"/>
                    <a:gd name="connsiteX4" fmla="*/ 0 w 612808"/>
                    <a:gd name="connsiteY4" fmla="*/ 717433 h 762701"/>
                    <a:gd name="connsiteX5" fmla="*/ 172945 w 612808"/>
                    <a:gd name="connsiteY5" fmla="*/ 576341 h 762701"/>
                    <a:gd name="connsiteX6" fmla="*/ 247767 w 612808"/>
                    <a:gd name="connsiteY6" fmla="*/ 125273 h 762701"/>
                    <a:gd name="connsiteX7" fmla="*/ 351235 w 612808"/>
                    <a:gd name="connsiteY7" fmla="*/ 214 h 762701"/>
                    <a:gd name="connsiteX8" fmla="*/ 352304 w 612808"/>
                    <a:gd name="connsiteY8" fmla="*/ 0 h 762701"/>
                    <a:gd name="connsiteX9" fmla="*/ 611187 w 612808"/>
                    <a:gd name="connsiteY9" fmla="*/ 482066 h 76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2808" h="762701">
                      <a:moveTo>
                        <a:pt x="611187" y="482066"/>
                      </a:moveTo>
                      <a:cubicBezTo>
                        <a:pt x="607339" y="548550"/>
                        <a:pt x="583182" y="612255"/>
                        <a:pt x="540854" y="663562"/>
                      </a:cubicBezTo>
                      <a:cubicBezTo>
                        <a:pt x="503871" y="708241"/>
                        <a:pt x="452137" y="753348"/>
                        <a:pt x="390356" y="760616"/>
                      </a:cubicBezTo>
                      <a:cubicBezTo>
                        <a:pt x="351876" y="765105"/>
                        <a:pt x="298218" y="761899"/>
                        <a:pt x="241140" y="755272"/>
                      </a:cubicBezTo>
                      <a:lnTo>
                        <a:pt x="0" y="717433"/>
                      </a:lnTo>
                      <a:cubicBezTo>
                        <a:pt x="137031" y="720640"/>
                        <a:pt x="141306" y="656293"/>
                        <a:pt x="172945" y="576341"/>
                      </a:cubicBezTo>
                      <a:cubicBezTo>
                        <a:pt x="204584" y="496602"/>
                        <a:pt x="200736" y="239429"/>
                        <a:pt x="247767" y="125273"/>
                      </a:cubicBezTo>
                      <a:cubicBezTo>
                        <a:pt x="290950" y="20095"/>
                        <a:pt x="343325" y="2351"/>
                        <a:pt x="351235" y="214"/>
                      </a:cubicBezTo>
                      <a:cubicBezTo>
                        <a:pt x="351876" y="0"/>
                        <a:pt x="352304" y="0"/>
                        <a:pt x="352304" y="0"/>
                      </a:cubicBezTo>
                      <a:cubicBezTo>
                        <a:pt x="408313" y="13040"/>
                        <a:pt x="634061" y="90000"/>
                        <a:pt x="611187" y="482066"/>
                      </a:cubicBezTo>
                      <a:close/>
                    </a:path>
                  </a:pathLst>
                </a:custGeom>
                <a:solidFill>
                  <a:srgbClr val="6D6D6D"/>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3" name="Graphic 2">
                  <a:extLst>
                    <a:ext uri="{FF2B5EF4-FFF2-40B4-BE49-F238E27FC236}">
                      <a16:creationId xmlns:a16="http://schemas.microsoft.com/office/drawing/2014/main" id="{CBA946EA-B67D-46F4-BD16-4B725E8AD0F4}"/>
                    </a:ext>
                  </a:extLst>
                </p:cNvPr>
                <p:cNvSpPr/>
                <p:nvPr/>
              </p:nvSpPr>
              <p:spPr>
                <a:xfrm>
                  <a:off x="5517081" y="5426066"/>
                  <a:ext cx="64101" cy="19728"/>
                </a:xfrm>
                <a:custGeom>
                  <a:avLst/>
                  <a:gdLst>
                    <a:gd name="connsiteX0" fmla="*/ 56228 w 621025"/>
                    <a:gd name="connsiteY0" fmla="*/ 16043 h 191125"/>
                    <a:gd name="connsiteX1" fmla="*/ 167606 w 621025"/>
                    <a:gd name="connsiteY1" fmla="*/ 141530 h 191125"/>
                    <a:gd name="connsiteX2" fmla="*/ 621026 w 621025"/>
                    <a:gd name="connsiteY2" fmla="*/ 141530 h 191125"/>
                    <a:gd name="connsiteX3" fmla="*/ 621026 w 621025"/>
                    <a:gd name="connsiteY3" fmla="*/ 191126 h 191125"/>
                    <a:gd name="connsiteX4" fmla="*/ 95350 w 621025"/>
                    <a:gd name="connsiteY4" fmla="*/ 191126 h 191125"/>
                    <a:gd name="connsiteX5" fmla="*/ 2784 w 621025"/>
                    <a:gd name="connsiteY5" fmla="*/ 59226 h 191125"/>
                    <a:gd name="connsiteX6" fmla="*/ 56228 w 621025"/>
                    <a:gd name="connsiteY6" fmla="*/ 16043 h 19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025" h="191125">
                      <a:moveTo>
                        <a:pt x="56228" y="16043"/>
                      </a:moveTo>
                      <a:cubicBezTo>
                        <a:pt x="56228" y="16043"/>
                        <a:pt x="101763" y="129986"/>
                        <a:pt x="167606" y="141530"/>
                      </a:cubicBezTo>
                      <a:cubicBezTo>
                        <a:pt x="233449" y="152860"/>
                        <a:pt x="621026" y="141530"/>
                        <a:pt x="621026" y="141530"/>
                      </a:cubicBezTo>
                      <a:lnTo>
                        <a:pt x="621026" y="191126"/>
                      </a:lnTo>
                      <a:lnTo>
                        <a:pt x="95350" y="191126"/>
                      </a:lnTo>
                      <a:cubicBezTo>
                        <a:pt x="95350" y="191126"/>
                        <a:pt x="20528" y="140247"/>
                        <a:pt x="2784" y="59226"/>
                      </a:cubicBezTo>
                      <a:cubicBezTo>
                        <a:pt x="-14745" y="-22009"/>
                        <a:pt x="56228" y="-1700"/>
                        <a:pt x="56228" y="1604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4" name="Graphic 2">
                  <a:extLst>
                    <a:ext uri="{FF2B5EF4-FFF2-40B4-BE49-F238E27FC236}">
                      <a16:creationId xmlns:a16="http://schemas.microsoft.com/office/drawing/2014/main" id="{28A2EA8C-C6B0-4BDA-90FC-40E521ECB8B9}"/>
                    </a:ext>
                  </a:extLst>
                </p:cNvPr>
                <p:cNvSpPr/>
                <p:nvPr/>
              </p:nvSpPr>
              <p:spPr>
                <a:xfrm>
                  <a:off x="5080114" y="5569076"/>
                  <a:ext cx="82790" cy="29061"/>
                </a:xfrm>
                <a:custGeom>
                  <a:avLst/>
                  <a:gdLst>
                    <a:gd name="connsiteX0" fmla="*/ 686008 w 802088"/>
                    <a:gd name="connsiteY0" fmla="*/ 0 h 281543"/>
                    <a:gd name="connsiteX1" fmla="*/ 802089 w 802088"/>
                    <a:gd name="connsiteY1" fmla="*/ 281543 h 281543"/>
                    <a:gd name="connsiteX2" fmla="*/ 97054 w 802088"/>
                    <a:gd name="connsiteY2" fmla="*/ 281543 h 281543"/>
                    <a:gd name="connsiteX3" fmla="*/ 0 w 802088"/>
                    <a:gd name="connsiteY3" fmla="*/ 0 h 281543"/>
                  </a:gdLst>
                  <a:ahLst/>
                  <a:cxnLst>
                    <a:cxn ang="0">
                      <a:pos x="connsiteX0" y="connsiteY0"/>
                    </a:cxn>
                    <a:cxn ang="0">
                      <a:pos x="connsiteX1" y="connsiteY1"/>
                    </a:cxn>
                    <a:cxn ang="0">
                      <a:pos x="connsiteX2" y="connsiteY2"/>
                    </a:cxn>
                    <a:cxn ang="0">
                      <a:pos x="connsiteX3" y="connsiteY3"/>
                    </a:cxn>
                  </a:cxnLst>
                  <a:rect l="l" t="t" r="r" b="b"/>
                  <a:pathLst>
                    <a:path w="802088" h="281543">
                      <a:moveTo>
                        <a:pt x="686008" y="0"/>
                      </a:moveTo>
                      <a:lnTo>
                        <a:pt x="802089" y="281543"/>
                      </a:lnTo>
                      <a:lnTo>
                        <a:pt x="97054" y="281543"/>
                      </a:lnTo>
                      <a:lnTo>
                        <a:pt x="0"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5" name="Graphic 2">
                  <a:extLst>
                    <a:ext uri="{FF2B5EF4-FFF2-40B4-BE49-F238E27FC236}">
                      <a16:creationId xmlns:a16="http://schemas.microsoft.com/office/drawing/2014/main" id="{3834282F-B4D1-459E-9819-4C887BFA0316}"/>
                    </a:ext>
                  </a:extLst>
                </p:cNvPr>
                <p:cNvSpPr/>
                <p:nvPr/>
              </p:nvSpPr>
              <p:spPr>
                <a:xfrm>
                  <a:off x="5090132" y="5598136"/>
                  <a:ext cx="72773" cy="18800"/>
                </a:xfrm>
                <a:custGeom>
                  <a:avLst/>
                  <a:gdLst>
                    <a:gd name="connsiteX0" fmla="*/ 0 w 705034"/>
                    <a:gd name="connsiteY0" fmla="*/ 0 h 182137"/>
                    <a:gd name="connsiteX1" fmla="*/ 705034 w 705034"/>
                    <a:gd name="connsiteY1" fmla="*/ 0 h 182137"/>
                    <a:gd name="connsiteX2" fmla="*/ 705034 w 705034"/>
                    <a:gd name="connsiteY2" fmla="*/ 182137 h 182137"/>
                    <a:gd name="connsiteX3" fmla="*/ 0 w 705034"/>
                    <a:gd name="connsiteY3" fmla="*/ 182137 h 182137"/>
                  </a:gdLst>
                  <a:ahLst/>
                  <a:cxnLst>
                    <a:cxn ang="0">
                      <a:pos x="connsiteX0" y="connsiteY0"/>
                    </a:cxn>
                    <a:cxn ang="0">
                      <a:pos x="connsiteX1" y="connsiteY1"/>
                    </a:cxn>
                    <a:cxn ang="0">
                      <a:pos x="connsiteX2" y="connsiteY2"/>
                    </a:cxn>
                    <a:cxn ang="0">
                      <a:pos x="connsiteX3" y="connsiteY3"/>
                    </a:cxn>
                  </a:cxnLst>
                  <a:rect l="l" t="t" r="r" b="b"/>
                  <a:pathLst>
                    <a:path w="705034" h="182137">
                      <a:moveTo>
                        <a:pt x="0" y="0"/>
                      </a:moveTo>
                      <a:lnTo>
                        <a:pt x="705034" y="0"/>
                      </a:lnTo>
                      <a:lnTo>
                        <a:pt x="705034" y="182137"/>
                      </a:lnTo>
                      <a:lnTo>
                        <a:pt x="0" y="182137"/>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6" name="Graphic 2">
                  <a:extLst>
                    <a:ext uri="{FF2B5EF4-FFF2-40B4-BE49-F238E27FC236}">
                      <a16:creationId xmlns:a16="http://schemas.microsoft.com/office/drawing/2014/main" id="{E6E392DD-42F0-46F2-804C-D972A4413A53}"/>
                    </a:ext>
                  </a:extLst>
                </p:cNvPr>
                <p:cNvSpPr/>
                <p:nvPr/>
              </p:nvSpPr>
              <p:spPr>
                <a:xfrm>
                  <a:off x="5571038" y="5428961"/>
                  <a:ext cx="133179" cy="17120"/>
                </a:xfrm>
                <a:custGeom>
                  <a:avLst/>
                  <a:gdLst>
                    <a:gd name="connsiteX0" fmla="*/ 62363 w 1290264"/>
                    <a:gd name="connsiteY0" fmla="*/ 11515 h 165861"/>
                    <a:gd name="connsiteX1" fmla="*/ 160486 w 1290264"/>
                    <a:gd name="connsiteY1" fmla="*/ 125244 h 165861"/>
                    <a:gd name="connsiteX2" fmla="*/ 1243690 w 1290264"/>
                    <a:gd name="connsiteY2" fmla="*/ 125244 h 165861"/>
                    <a:gd name="connsiteX3" fmla="*/ 1280460 w 1290264"/>
                    <a:gd name="connsiteY3" fmla="*/ 165861 h 165861"/>
                    <a:gd name="connsiteX4" fmla="*/ 79251 w 1290264"/>
                    <a:gd name="connsiteY4" fmla="*/ 162868 h 165861"/>
                    <a:gd name="connsiteX5" fmla="*/ 367 w 1290264"/>
                    <a:gd name="connsiteY5" fmla="*/ 37596 h 165861"/>
                    <a:gd name="connsiteX6" fmla="*/ 62363 w 1290264"/>
                    <a:gd name="connsiteY6" fmla="*/ 11515 h 16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0264" h="165861">
                      <a:moveTo>
                        <a:pt x="62363" y="11515"/>
                      </a:moveTo>
                      <a:cubicBezTo>
                        <a:pt x="62363" y="11515"/>
                        <a:pt x="127564" y="119472"/>
                        <a:pt x="160486" y="125244"/>
                      </a:cubicBezTo>
                      <a:cubicBezTo>
                        <a:pt x="193408" y="131229"/>
                        <a:pt x="1243690" y="125244"/>
                        <a:pt x="1243690" y="125244"/>
                      </a:cubicBezTo>
                      <a:cubicBezTo>
                        <a:pt x="1243690" y="125244"/>
                        <a:pt x="1315947" y="148545"/>
                        <a:pt x="1280460" y="165861"/>
                      </a:cubicBezTo>
                      <a:lnTo>
                        <a:pt x="79251" y="162868"/>
                      </a:lnTo>
                      <a:cubicBezTo>
                        <a:pt x="79251" y="162868"/>
                        <a:pt x="5498" y="79282"/>
                        <a:pt x="367" y="37596"/>
                      </a:cubicBezTo>
                      <a:cubicBezTo>
                        <a:pt x="-4977" y="-3877"/>
                        <a:pt x="49536" y="-8580"/>
                        <a:pt x="62363" y="11515"/>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7" name="Graphic 2">
                  <a:extLst>
                    <a:ext uri="{FF2B5EF4-FFF2-40B4-BE49-F238E27FC236}">
                      <a16:creationId xmlns:a16="http://schemas.microsoft.com/office/drawing/2014/main" id="{14C9943E-C05F-441F-AF65-49E920CBDD89}"/>
                    </a:ext>
                  </a:extLst>
                </p:cNvPr>
                <p:cNvSpPr/>
                <p:nvPr/>
              </p:nvSpPr>
              <p:spPr>
                <a:xfrm>
                  <a:off x="5080114" y="5569076"/>
                  <a:ext cx="10018" cy="47861"/>
                </a:xfrm>
                <a:custGeom>
                  <a:avLst/>
                  <a:gdLst>
                    <a:gd name="connsiteX0" fmla="*/ 0 w 97054"/>
                    <a:gd name="connsiteY0" fmla="*/ 0 h 463681"/>
                    <a:gd name="connsiteX1" fmla="*/ 0 w 97054"/>
                    <a:gd name="connsiteY1" fmla="*/ 384584 h 463681"/>
                    <a:gd name="connsiteX2" fmla="*/ 97054 w 97054"/>
                    <a:gd name="connsiteY2" fmla="*/ 463681 h 463681"/>
                    <a:gd name="connsiteX3" fmla="*/ 97054 w 97054"/>
                    <a:gd name="connsiteY3" fmla="*/ 281543 h 463681"/>
                  </a:gdLst>
                  <a:ahLst/>
                  <a:cxnLst>
                    <a:cxn ang="0">
                      <a:pos x="connsiteX0" y="connsiteY0"/>
                    </a:cxn>
                    <a:cxn ang="0">
                      <a:pos x="connsiteX1" y="connsiteY1"/>
                    </a:cxn>
                    <a:cxn ang="0">
                      <a:pos x="connsiteX2" y="connsiteY2"/>
                    </a:cxn>
                    <a:cxn ang="0">
                      <a:pos x="connsiteX3" y="connsiteY3"/>
                    </a:cxn>
                  </a:cxnLst>
                  <a:rect l="l" t="t" r="r" b="b"/>
                  <a:pathLst>
                    <a:path w="97054" h="463681">
                      <a:moveTo>
                        <a:pt x="0" y="0"/>
                      </a:moveTo>
                      <a:lnTo>
                        <a:pt x="0" y="384584"/>
                      </a:lnTo>
                      <a:lnTo>
                        <a:pt x="97054" y="463681"/>
                      </a:lnTo>
                      <a:lnTo>
                        <a:pt x="97054" y="281543"/>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8" name="Graphic 2">
                  <a:extLst>
                    <a:ext uri="{FF2B5EF4-FFF2-40B4-BE49-F238E27FC236}">
                      <a16:creationId xmlns:a16="http://schemas.microsoft.com/office/drawing/2014/main" id="{84970FB1-B880-4413-BF09-8D3C47A366E7}"/>
                    </a:ext>
                  </a:extLst>
                </p:cNvPr>
                <p:cNvSpPr/>
                <p:nvPr/>
              </p:nvSpPr>
              <p:spPr>
                <a:xfrm>
                  <a:off x="5600953" y="5413544"/>
                  <a:ext cx="8677" cy="29801"/>
                </a:xfrm>
                <a:custGeom>
                  <a:avLst/>
                  <a:gdLst>
                    <a:gd name="connsiteX0" fmla="*/ 84014 w 84060"/>
                    <a:gd name="connsiteY0" fmla="*/ 30257 h 288712"/>
                    <a:gd name="connsiteX1" fmla="*/ 75677 w 84060"/>
                    <a:gd name="connsiteY1" fmla="*/ 288712 h 288712"/>
                    <a:gd name="connsiteX2" fmla="*/ 0 w 84060"/>
                    <a:gd name="connsiteY2" fmla="*/ 288712 h 288712"/>
                    <a:gd name="connsiteX3" fmla="*/ 27577 w 84060"/>
                    <a:gd name="connsiteY3" fmla="*/ 13155 h 288712"/>
                    <a:gd name="connsiteX4" fmla="*/ 84014 w 84060"/>
                    <a:gd name="connsiteY4" fmla="*/ 30257 h 288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60" h="288712">
                      <a:moveTo>
                        <a:pt x="84014" y="30257"/>
                      </a:moveTo>
                      <a:lnTo>
                        <a:pt x="75677" y="288712"/>
                      </a:lnTo>
                      <a:lnTo>
                        <a:pt x="0" y="288712"/>
                      </a:lnTo>
                      <a:lnTo>
                        <a:pt x="27577" y="13155"/>
                      </a:lnTo>
                      <a:cubicBezTo>
                        <a:pt x="27791" y="13155"/>
                        <a:pt x="85938" y="-25752"/>
                        <a:pt x="84014" y="30257"/>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39" name="Graphic 2">
                  <a:extLst>
                    <a:ext uri="{FF2B5EF4-FFF2-40B4-BE49-F238E27FC236}">
                      <a16:creationId xmlns:a16="http://schemas.microsoft.com/office/drawing/2014/main" id="{B99FFF65-DEFB-4ACA-910E-2E8D4884F7F4}"/>
                    </a:ext>
                  </a:extLst>
                </p:cNvPr>
                <p:cNvSpPr/>
                <p:nvPr/>
              </p:nvSpPr>
              <p:spPr>
                <a:xfrm>
                  <a:off x="5090132" y="5616937"/>
                  <a:ext cx="71383" cy="88462"/>
                </a:xfrm>
                <a:custGeom>
                  <a:avLst/>
                  <a:gdLst>
                    <a:gd name="connsiteX0" fmla="*/ 691566 w 691566"/>
                    <a:gd name="connsiteY0" fmla="*/ 829666 h 857028"/>
                    <a:gd name="connsiteX1" fmla="*/ 0 w 691566"/>
                    <a:gd name="connsiteY1" fmla="*/ 857029 h 857028"/>
                    <a:gd name="connsiteX2" fmla="*/ 0 w 691566"/>
                    <a:gd name="connsiteY2" fmla="*/ 0 h 857028"/>
                    <a:gd name="connsiteX3" fmla="*/ 691566 w 691566"/>
                    <a:gd name="connsiteY3" fmla="*/ 0 h 857028"/>
                  </a:gdLst>
                  <a:ahLst/>
                  <a:cxnLst>
                    <a:cxn ang="0">
                      <a:pos x="connsiteX0" y="connsiteY0"/>
                    </a:cxn>
                    <a:cxn ang="0">
                      <a:pos x="connsiteX1" y="connsiteY1"/>
                    </a:cxn>
                    <a:cxn ang="0">
                      <a:pos x="connsiteX2" y="connsiteY2"/>
                    </a:cxn>
                    <a:cxn ang="0">
                      <a:pos x="connsiteX3" y="connsiteY3"/>
                    </a:cxn>
                  </a:cxnLst>
                  <a:rect l="l" t="t" r="r" b="b"/>
                  <a:pathLst>
                    <a:path w="691566" h="857028">
                      <a:moveTo>
                        <a:pt x="691566" y="829666"/>
                      </a:moveTo>
                      <a:lnTo>
                        <a:pt x="0" y="857029"/>
                      </a:lnTo>
                      <a:lnTo>
                        <a:pt x="0" y="0"/>
                      </a:lnTo>
                      <a:lnTo>
                        <a:pt x="691566"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0" name="Graphic 2">
                  <a:extLst>
                    <a:ext uri="{FF2B5EF4-FFF2-40B4-BE49-F238E27FC236}">
                      <a16:creationId xmlns:a16="http://schemas.microsoft.com/office/drawing/2014/main" id="{320706E4-1B96-464B-A046-B6B1DD3A29E8}"/>
                    </a:ext>
                  </a:extLst>
                </p:cNvPr>
                <p:cNvSpPr/>
                <p:nvPr/>
              </p:nvSpPr>
              <p:spPr>
                <a:xfrm>
                  <a:off x="5080114" y="5608772"/>
                  <a:ext cx="10018" cy="96626"/>
                </a:xfrm>
                <a:custGeom>
                  <a:avLst/>
                  <a:gdLst>
                    <a:gd name="connsiteX0" fmla="*/ 0 w 97054"/>
                    <a:gd name="connsiteY0" fmla="*/ 0 h 936126"/>
                    <a:gd name="connsiteX1" fmla="*/ 0 w 97054"/>
                    <a:gd name="connsiteY1" fmla="*/ 849333 h 936126"/>
                    <a:gd name="connsiteX2" fmla="*/ 97054 w 97054"/>
                    <a:gd name="connsiteY2" fmla="*/ 936126 h 936126"/>
                    <a:gd name="connsiteX3" fmla="*/ 97054 w 97054"/>
                    <a:gd name="connsiteY3" fmla="*/ 79097 h 936126"/>
                  </a:gdLst>
                  <a:ahLst/>
                  <a:cxnLst>
                    <a:cxn ang="0">
                      <a:pos x="connsiteX0" y="connsiteY0"/>
                    </a:cxn>
                    <a:cxn ang="0">
                      <a:pos x="connsiteX1" y="connsiteY1"/>
                    </a:cxn>
                    <a:cxn ang="0">
                      <a:pos x="connsiteX2" y="connsiteY2"/>
                    </a:cxn>
                    <a:cxn ang="0">
                      <a:pos x="connsiteX3" y="connsiteY3"/>
                    </a:cxn>
                  </a:cxnLst>
                  <a:rect l="l" t="t" r="r" b="b"/>
                  <a:pathLst>
                    <a:path w="97054" h="936126">
                      <a:moveTo>
                        <a:pt x="0" y="0"/>
                      </a:moveTo>
                      <a:lnTo>
                        <a:pt x="0" y="849333"/>
                      </a:lnTo>
                      <a:lnTo>
                        <a:pt x="97054" y="936126"/>
                      </a:lnTo>
                      <a:lnTo>
                        <a:pt x="97054" y="79097"/>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1" name="Graphic 2">
                  <a:extLst>
                    <a:ext uri="{FF2B5EF4-FFF2-40B4-BE49-F238E27FC236}">
                      <a16:creationId xmlns:a16="http://schemas.microsoft.com/office/drawing/2014/main" id="{3ADCA8E2-A85D-43E4-BDE7-AB7E8E38EBF7}"/>
                    </a:ext>
                  </a:extLst>
                </p:cNvPr>
                <p:cNvSpPr/>
                <p:nvPr/>
              </p:nvSpPr>
              <p:spPr>
                <a:xfrm>
                  <a:off x="5076539" y="5696440"/>
                  <a:ext cx="13592" cy="8959"/>
                </a:xfrm>
                <a:custGeom>
                  <a:avLst/>
                  <a:gdLst>
                    <a:gd name="connsiteX0" fmla="*/ 34632 w 131686"/>
                    <a:gd name="connsiteY0" fmla="*/ 0 h 86793"/>
                    <a:gd name="connsiteX1" fmla="*/ 131686 w 131686"/>
                    <a:gd name="connsiteY1" fmla="*/ 86793 h 86793"/>
                    <a:gd name="connsiteX2" fmla="*/ 94489 w 131686"/>
                    <a:gd name="connsiteY2" fmla="*/ 86793 h 86793"/>
                    <a:gd name="connsiteX3" fmla="*/ 0 w 131686"/>
                    <a:gd name="connsiteY3" fmla="*/ 0 h 86793"/>
                  </a:gdLst>
                  <a:ahLst/>
                  <a:cxnLst>
                    <a:cxn ang="0">
                      <a:pos x="connsiteX0" y="connsiteY0"/>
                    </a:cxn>
                    <a:cxn ang="0">
                      <a:pos x="connsiteX1" y="connsiteY1"/>
                    </a:cxn>
                    <a:cxn ang="0">
                      <a:pos x="connsiteX2" y="connsiteY2"/>
                    </a:cxn>
                    <a:cxn ang="0">
                      <a:pos x="connsiteX3" y="connsiteY3"/>
                    </a:cxn>
                  </a:cxnLst>
                  <a:rect l="l" t="t" r="r" b="b"/>
                  <a:pathLst>
                    <a:path w="131686" h="86793">
                      <a:moveTo>
                        <a:pt x="34632" y="0"/>
                      </a:moveTo>
                      <a:lnTo>
                        <a:pt x="131686" y="86793"/>
                      </a:lnTo>
                      <a:lnTo>
                        <a:pt x="94489" y="86793"/>
                      </a:lnTo>
                      <a:lnTo>
                        <a:pt x="0"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2" name="Graphic 2">
                  <a:extLst>
                    <a:ext uri="{FF2B5EF4-FFF2-40B4-BE49-F238E27FC236}">
                      <a16:creationId xmlns:a16="http://schemas.microsoft.com/office/drawing/2014/main" id="{599D4C78-73FD-4A2F-8A20-3F49BAC276BF}"/>
                    </a:ext>
                  </a:extLst>
                </p:cNvPr>
                <p:cNvSpPr/>
                <p:nvPr/>
              </p:nvSpPr>
              <p:spPr>
                <a:xfrm>
                  <a:off x="5076539" y="5696440"/>
                  <a:ext cx="9753" cy="27693"/>
                </a:xfrm>
                <a:custGeom>
                  <a:avLst/>
                  <a:gdLst>
                    <a:gd name="connsiteX0" fmla="*/ 0 w 94489"/>
                    <a:gd name="connsiteY0" fmla="*/ 0 h 268289"/>
                    <a:gd name="connsiteX1" fmla="*/ 0 w 94489"/>
                    <a:gd name="connsiteY1" fmla="*/ 152209 h 268289"/>
                    <a:gd name="connsiteX2" fmla="*/ 90855 w 94489"/>
                    <a:gd name="connsiteY2" fmla="*/ 268289 h 268289"/>
                    <a:gd name="connsiteX3" fmla="*/ 94489 w 94489"/>
                    <a:gd name="connsiteY3" fmla="*/ 86793 h 268289"/>
                  </a:gdLst>
                  <a:ahLst/>
                  <a:cxnLst>
                    <a:cxn ang="0">
                      <a:pos x="connsiteX0" y="connsiteY0"/>
                    </a:cxn>
                    <a:cxn ang="0">
                      <a:pos x="connsiteX1" y="connsiteY1"/>
                    </a:cxn>
                    <a:cxn ang="0">
                      <a:pos x="connsiteX2" y="connsiteY2"/>
                    </a:cxn>
                    <a:cxn ang="0">
                      <a:pos x="connsiteX3" y="connsiteY3"/>
                    </a:cxn>
                  </a:cxnLst>
                  <a:rect l="l" t="t" r="r" b="b"/>
                  <a:pathLst>
                    <a:path w="94489" h="268289">
                      <a:moveTo>
                        <a:pt x="0" y="0"/>
                      </a:moveTo>
                      <a:lnTo>
                        <a:pt x="0" y="152209"/>
                      </a:lnTo>
                      <a:lnTo>
                        <a:pt x="90855" y="268289"/>
                      </a:lnTo>
                      <a:lnTo>
                        <a:pt x="94489" y="86793"/>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3" name="Graphic 2">
                  <a:extLst>
                    <a:ext uri="{FF2B5EF4-FFF2-40B4-BE49-F238E27FC236}">
                      <a16:creationId xmlns:a16="http://schemas.microsoft.com/office/drawing/2014/main" id="{4AA24EB7-8EDB-45C2-A01A-156541F7989B}"/>
                    </a:ext>
                  </a:extLst>
                </p:cNvPr>
                <p:cNvSpPr/>
                <p:nvPr/>
              </p:nvSpPr>
              <p:spPr>
                <a:xfrm>
                  <a:off x="5085917" y="5702199"/>
                  <a:ext cx="81158" cy="21933"/>
                </a:xfrm>
                <a:custGeom>
                  <a:avLst/>
                  <a:gdLst>
                    <a:gd name="connsiteX0" fmla="*/ 0 w 786269"/>
                    <a:gd name="connsiteY0" fmla="*/ 212493 h 212493"/>
                    <a:gd name="connsiteX1" fmla="*/ 786269 w 786269"/>
                    <a:gd name="connsiteY1" fmla="*/ 165891 h 212493"/>
                    <a:gd name="connsiteX2" fmla="*/ 786269 w 786269"/>
                    <a:gd name="connsiteY2" fmla="*/ 0 h 212493"/>
                    <a:gd name="connsiteX3" fmla="*/ 3634 w 786269"/>
                    <a:gd name="connsiteY3" fmla="*/ 30998 h 212493"/>
                  </a:gdLst>
                  <a:ahLst/>
                  <a:cxnLst>
                    <a:cxn ang="0">
                      <a:pos x="connsiteX0" y="connsiteY0"/>
                    </a:cxn>
                    <a:cxn ang="0">
                      <a:pos x="connsiteX1" y="connsiteY1"/>
                    </a:cxn>
                    <a:cxn ang="0">
                      <a:pos x="connsiteX2" y="connsiteY2"/>
                    </a:cxn>
                    <a:cxn ang="0">
                      <a:pos x="connsiteX3" y="connsiteY3"/>
                    </a:cxn>
                  </a:cxnLst>
                  <a:rect l="l" t="t" r="r" b="b"/>
                  <a:pathLst>
                    <a:path w="786269" h="212493">
                      <a:moveTo>
                        <a:pt x="0" y="212493"/>
                      </a:moveTo>
                      <a:lnTo>
                        <a:pt x="786269" y="165891"/>
                      </a:lnTo>
                      <a:lnTo>
                        <a:pt x="786269" y="0"/>
                      </a:lnTo>
                      <a:lnTo>
                        <a:pt x="3634" y="30998"/>
                      </a:lnTo>
                      <a:close/>
                    </a:path>
                  </a:pathLst>
                </a:custGeom>
                <a:solidFill>
                  <a:srgbClr val="6D6D6D"/>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4" name="Graphic 2">
                  <a:extLst>
                    <a:ext uri="{FF2B5EF4-FFF2-40B4-BE49-F238E27FC236}">
                      <a16:creationId xmlns:a16="http://schemas.microsoft.com/office/drawing/2014/main" id="{210BA7D4-422A-4D02-B4ED-AF1822E4E6B4}"/>
                    </a:ext>
                  </a:extLst>
                </p:cNvPr>
                <p:cNvSpPr/>
                <p:nvPr/>
              </p:nvSpPr>
              <p:spPr>
                <a:xfrm>
                  <a:off x="5182411" y="5514286"/>
                  <a:ext cx="207109" cy="178138"/>
                </a:xfrm>
                <a:custGeom>
                  <a:avLst/>
                  <a:gdLst>
                    <a:gd name="connsiteX0" fmla="*/ 0 w 2006504"/>
                    <a:gd name="connsiteY0" fmla="*/ 45748 h 1725815"/>
                    <a:gd name="connsiteX1" fmla="*/ 0 w 2006504"/>
                    <a:gd name="connsiteY1" fmla="*/ 1725816 h 1725815"/>
                    <a:gd name="connsiteX2" fmla="*/ 2006505 w 2006504"/>
                    <a:gd name="connsiteY2" fmla="*/ 1608666 h 1725815"/>
                    <a:gd name="connsiteX3" fmla="*/ 2006505 w 2006504"/>
                    <a:gd name="connsiteY3" fmla="*/ 0 h 1725815"/>
                    <a:gd name="connsiteX4" fmla="*/ 0 w 2006504"/>
                    <a:gd name="connsiteY4" fmla="*/ 45748 h 1725815"/>
                    <a:gd name="connsiteX5" fmla="*/ 992563 w 2006504"/>
                    <a:gd name="connsiteY5" fmla="*/ 1579807 h 1725815"/>
                    <a:gd name="connsiteX6" fmla="*/ 126342 w 2006504"/>
                    <a:gd name="connsiteY6" fmla="*/ 1614011 h 1725815"/>
                    <a:gd name="connsiteX7" fmla="*/ 126342 w 2006504"/>
                    <a:gd name="connsiteY7" fmla="*/ 135534 h 1725815"/>
                    <a:gd name="connsiteX8" fmla="*/ 992563 w 2006504"/>
                    <a:gd name="connsiteY8" fmla="*/ 112660 h 1725815"/>
                    <a:gd name="connsiteX9" fmla="*/ 992563 w 2006504"/>
                    <a:gd name="connsiteY9" fmla="*/ 1579807 h 1725815"/>
                    <a:gd name="connsiteX10" fmla="*/ 1887004 w 2006504"/>
                    <a:gd name="connsiteY10" fmla="*/ 1516957 h 1725815"/>
                    <a:gd name="connsiteX11" fmla="*/ 1106079 w 2006504"/>
                    <a:gd name="connsiteY11" fmla="*/ 1568263 h 1725815"/>
                    <a:gd name="connsiteX12" fmla="*/ 1106079 w 2006504"/>
                    <a:gd name="connsiteY12" fmla="*/ 112660 h 1725815"/>
                    <a:gd name="connsiteX13" fmla="*/ 1887004 w 2006504"/>
                    <a:gd name="connsiteY13" fmla="*/ 97482 h 1725815"/>
                    <a:gd name="connsiteX14" fmla="*/ 1887004 w 2006504"/>
                    <a:gd name="connsiteY14" fmla="*/ 1516957 h 172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06504" h="1725815">
                      <a:moveTo>
                        <a:pt x="0" y="45748"/>
                      </a:moveTo>
                      <a:lnTo>
                        <a:pt x="0" y="1725816"/>
                      </a:lnTo>
                      <a:lnTo>
                        <a:pt x="2006505" y="1608666"/>
                      </a:lnTo>
                      <a:lnTo>
                        <a:pt x="2006505" y="0"/>
                      </a:lnTo>
                      <a:lnTo>
                        <a:pt x="0" y="45748"/>
                      </a:lnTo>
                      <a:close/>
                      <a:moveTo>
                        <a:pt x="992563" y="1579807"/>
                      </a:moveTo>
                      <a:lnTo>
                        <a:pt x="126342" y="1614011"/>
                      </a:lnTo>
                      <a:lnTo>
                        <a:pt x="126342" y="135534"/>
                      </a:lnTo>
                      <a:lnTo>
                        <a:pt x="992563" y="112660"/>
                      </a:lnTo>
                      <a:lnTo>
                        <a:pt x="992563" y="1579807"/>
                      </a:lnTo>
                      <a:close/>
                      <a:moveTo>
                        <a:pt x="1887004" y="1516957"/>
                      </a:moveTo>
                      <a:lnTo>
                        <a:pt x="1106079" y="1568263"/>
                      </a:lnTo>
                      <a:lnTo>
                        <a:pt x="1106079" y="112660"/>
                      </a:lnTo>
                      <a:lnTo>
                        <a:pt x="1887004" y="97482"/>
                      </a:lnTo>
                      <a:lnTo>
                        <a:pt x="1887004" y="1516957"/>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5" name="Graphic 2">
                  <a:extLst>
                    <a:ext uri="{FF2B5EF4-FFF2-40B4-BE49-F238E27FC236}">
                      <a16:creationId xmlns:a16="http://schemas.microsoft.com/office/drawing/2014/main" id="{C1990444-2632-4409-8F9F-80FA1AF0CB39}"/>
                    </a:ext>
                  </a:extLst>
                </p:cNvPr>
                <p:cNvSpPr/>
                <p:nvPr/>
              </p:nvSpPr>
              <p:spPr>
                <a:xfrm>
                  <a:off x="5497200" y="5505173"/>
                  <a:ext cx="302653" cy="75973"/>
                </a:xfrm>
                <a:custGeom>
                  <a:avLst/>
                  <a:gdLst>
                    <a:gd name="connsiteX0" fmla="*/ 0 w 2932156"/>
                    <a:gd name="connsiteY0" fmla="*/ 736032 h 736031"/>
                    <a:gd name="connsiteX1" fmla="*/ 2932156 w 2932156"/>
                    <a:gd name="connsiteY1" fmla="*/ 615248 h 736031"/>
                    <a:gd name="connsiteX2" fmla="*/ 2932156 w 2932156"/>
                    <a:gd name="connsiteY2" fmla="*/ 0 h 736031"/>
                    <a:gd name="connsiteX3" fmla="*/ 0 w 2932156"/>
                    <a:gd name="connsiteY3" fmla="*/ 64774 h 736031"/>
                  </a:gdLst>
                  <a:ahLst/>
                  <a:cxnLst>
                    <a:cxn ang="0">
                      <a:pos x="connsiteX0" y="connsiteY0"/>
                    </a:cxn>
                    <a:cxn ang="0">
                      <a:pos x="connsiteX1" y="connsiteY1"/>
                    </a:cxn>
                    <a:cxn ang="0">
                      <a:pos x="connsiteX2" y="connsiteY2"/>
                    </a:cxn>
                    <a:cxn ang="0">
                      <a:pos x="connsiteX3" y="connsiteY3"/>
                    </a:cxn>
                  </a:cxnLst>
                  <a:rect l="l" t="t" r="r" b="b"/>
                  <a:pathLst>
                    <a:path w="2932156" h="736031">
                      <a:moveTo>
                        <a:pt x="0" y="736032"/>
                      </a:moveTo>
                      <a:lnTo>
                        <a:pt x="2932156" y="615248"/>
                      </a:lnTo>
                      <a:lnTo>
                        <a:pt x="2932156" y="0"/>
                      </a:lnTo>
                      <a:lnTo>
                        <a:pt x="0" y="64774"/>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6" name="Graphic 2">
                  <a:extLst>
                    <a:ext uri="{FF2B5EF4-FFF2-40B4-BE49-F238E27FC236}">
                      <a16:creationId xmlns:a16="http://schemas.microsoft.com/office/drawing/2014/main" id="{CCC73CAF-4773-460C-881A-340E94884DA4}"/>
                    </a:ext>
                  </a:extLst>
                </p:cNvPr>
                <p:cNvSpPr/>
                <p:nvPr/>
              </p:nvSpPr>
              <p:spPr>
                <a:xfrm>
                  <a:off x="5271358" y="5577306"/>
                  <a:ext cx="8914" cy="9621"/>
                </a:xfrm>
                <a:custGeom>
                  <a:avLst/>
                  <a:gdLst>
                    <a:gd name="connsiteX0" fmla="*/ 86366 w 86365"/>
                    <a:gd name="connsiteY0" fmla="*/ 46603 h 93206"/>
                    <a:gd name="connsiteX1" fmla="*/ 43183 w 86365"/>
                    <a:gd name="connsiteY1" fmla="*/ 93207 h 93206"/>
                    <a:gd name="connsiteX2" fmla="*/ 0 w 86365"/>
                    <a:gd name="connsiteY2" fmla="*/ 46603 h 93206"/>
                    <a:gd name="connsiteX3" fmla="*/ 43183 w 86365"/>
                    <a:gd name="connsiteY3" fmla="*/ 0 h 93206"/>
                    <a:gd name="connsiteX4" fmla="*/ 86366 w 86365"/>
                    <a:gd name="connsiteY4" fmla="*/ 46603 h 93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5" h="93206">
                      <a:moveTo>
                        <a:pt x="86366" y="46603"/>
                      </a:moveTo>
                      <a:cubicBezTo>
                        <a:pt x="86366" y="72342"/>
                        <a:pt x="67032" y="93207"/>
                        <a:pt x="43183" y="93207"/>
                      </a:cubicBezTo>
                      <a:cubicBezTo>
                        <a:pt x="19334" y="93207"/>
                        <a:pt x="0" y="72342"/>
                        <a:pt x="0" y="46603"/>
                      </a:cubicBezTo>
                      <a:cubicBezTo>
                        <a:pt x="0" y="20865"/>
                        <a:pt x="19334" y="0"/>
                        <a:pt x="43183" y="0"/>
                      </a:cubicBezTo>
                      <a:cubicBezTo>
                        <a:pt x="67032" y="0"/>
                        <a:pt x="86366" y="20865"/>
                        <a:pt x="86366" y="46603"/>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7" name="Graphic 2">
                  <a:extLst>
                    <a:ext uri="{FF2B5EF4-FFF2-40B4-BE49-F238E27FC236}">
                      <a16:creationId xmlns:a16="http://schemas.microsoft.com/office/drawing/2014/main" id="{DF88F34A-BE3C-425C-9A5C-683331087E04}"/>
                    </a:ext>
                  </a:extLst>
                </p:cNvPr>
                <p:cNvSpPr/>
                <p:nvPr/>
              </p:nvSpPr>
              <p:spPr>
                <a:xfrm>
                  <a:off x="5271358" y="5609280"/>
                  <a:ext cx="8914" cy="9621"/>
                </a:xfrm>
                <a:custGeom>
                  <a:avLst/>
                  <a:gdLst>
                    <a:gd name="connsiteX0" fmla="*/ 86366 w 86365"/>
                    <a:gd name="connsiteY0" fmla="*/ 46603 h 93206"/>
                    <a:gd name="connsiteX1" fmla="*/ 43183 w 86365"/>
                    <a:gd name="connsiteY1" fmla="*/ 93206 h 93206"/>
                    <a:gd name="connsiteX2" fmla="*/ 0 w 86365"/>
                    <a:gd name="connsiteY2" fmla="*/ 46603 h 93206"/>
                    <a:gd name="connsiteX3" fmla="*/ 43183 w 86365"/>
                    <a:gd name="connsiteY3" fmla="*/ 0 h 93206"/>
                    <a:gd name="connsiteX4" fmla="*/ 86366 w 86365"/>
                    <a:gd name="connsiteY4" fmla="*/ 46603 h 93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5" h="93206">
                      <a:moveTo>
                        <a:pt x="86366" y="46603"/>
                      </a:moveTo>
                      <a:cubicBezTo>
                        <a:pt x="86366" y="72341"/>
                        <a:pt x="67032" y="93206"/>
                        <a:pt x="43183" y="93206"/>
                      </a:cubicBezTo>
                      <a:cubicBezTo>
                        <a:pt x="19334" y="93206"/>
                        <a:pt x="0" y="72341"/>
                        <a:pt x="0" y="46603"/>
                      </a:cubicBezTo>
                      <a:cubicBezTo>
                        <a:pt x="0" y="20865"/>
                        <a:pt x="19334" y="0"/>
                        <a:pt x="43183" y="0"/>
                      </a:cubicBezTo>
                      <a:cubicBezTo>
                        <a:pt x="67032" y="0"/>
                        <a:pt x="86366" y="20865"/>
                        <a:pt x="86366" y="46603"/>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8" name="Graphic 2">
                  <a:extLst>
                    <a:ext uri="{FF2B5EF4-FFF2-40B4-BE49-F238E27FC236}">
                      <a16:creationId xmlns:a16="http://schemas.microsoft.com/office/drawing/2014/main" id="{7C4223E1-9100-48DE-859F-3C0FD54F120B}"/>
                    </a:ext>
                  </a:extLst>
                </p:cNvPr>
                <p:cNvSpPr/>
                <p:nvPr/>
              </p:nvSpPr>
              <p:spPr>
                <a:xfrm>
                  <a:off x="5300109" y="5576335"/>
                  <a:ext cx="8914" cy="9621"/>
                </a:xfrm>
                <a:custGeom>
                  <a:avLst/>
                  <a:gdLst>
                    <a:gd name="connsiteX0" fmla="*/ 86366 w 86365"/>
                    <a:gd name="connsiteY0" fmla="*/ 46603 h 93206"/>
                    <a:gd name="connsiteX1" fmla="*/ 43183 w 86365"/>
                    <a:gd name="connsiteY1" fmla="*/ 93207 h 93206"/>
                    <a:gd name="connsiteX2" fmla="*/ 0 w 86365"/>
                    <a:gd name="connsiteY2" fmla="*/ 46603 h 93206"/>
                    <a:gd name="connsiteX3" fmla="*/ 43183 w 86365"/>
                    <a:gd name="connsiteY3" fmla="*/ 0 h 93206"/>
                    <a:gd name="connsiteX4" fmla="*/ 86366 w 86365"/>
                    <a:gd name="connsiteY4" fmla="*/ 46603 h 93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5" h="93206">
                      <a:moveTo>
                        <a:pt x="86366" y="46603"/>
                      </a:moveTo>
                      <a:cubicBezTo>
                        <a:pt x="86366" y="72342"/>
                        <a:pt x="67032" y="93207"/>
                        <a:pt x="43183" y="93207"/>
                      </a:cubicBezTo>
                      <a:cubicBezTo>
                        <a:pt x="19334" y="93207"/>
                        <a:pt x="0" y="72342"/>
                        <a:pt x="0" y="46603"/>
                      </a:cubicBezTo>
                      <a:cubicBezTo>
                        <a:pt x="0" y="20865"/>
                        <a:pt x="19334" y="0"/>
                        <a:pt x="43183" y="0"/>
                      </a:cubicBezTo>
                      <a:cubicBezTo>
                        <a:pt x="67032" y="0"/>
                        <a:pt x="86366" y="20865"/>
                        <a:pt x="86366" y="46603"/>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49" name="Graphic 2">
                  <a:extLst>
                    <a:ext uri="{FF2B5EF4-FFF2-40B4-BE49-F238E27FC236}">
                      <a16:creationId xmlns:a16="http://schemas.microsoft.com/office/drawing/2014/main" id="{5CD69915-EE90-45B2-96B8-85359586F770}"/>
                    </a:ext>
                  </a:extLst>
                </p:cNvPr>
                <p:cNvSpPr/>
                <p:nvPr/>
              </p:nvSpPr>
              <p:spPr>
                <a:xfrm>
                  <a:off x="5300109" y="5608309"/>
                  <a:ext cx="8914" cy="9621"/>
                </a:xfrm>
                <a:custGeom>
                  <a:avLst/>
                  <a:gdLst>
                    <a:gd name="connsiteX0" fmla="*/ 86366 w 86365"/>
                    <a:gd name="connsiteY0" fmla="*/ 46603 h 93206"/>
                    <a:gd name="connsiteX1" fmla="*/ 43183 w 86365"/>
                    <a:gd name="connsiteY1" fmla="*/ 93207 h 93206"/>
                    <a:gd name="connsiteX2" fmla="*/ 0 w 86365"/>
                    <a:gd name="connsiteY2" fmla="*/ 46603 h 93206"/>
                    <a:gd name="connsiteX3" fmla="*/ 43183 w 86365"/>
                    <a:gd name="connsiteY3" fmla="*/ 0 h 93206"/>
                    <a:gd name="connsiteX4" fmla="*/ 86366 w 86365"/>
                    <a:gd name="connsiteY4" fmla="*/ 46603 h 93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365" h="93206">
                      <a:moveTo>
                        <a:pt x="86366" y="46603"/>
                      </a:moveTo>
                      <a:cubicBezTo>
                        <a:pt x="86366" y="72342"/>
                        <a:pt x="67032" y="93207"/>
                        <a:pt x="43183" y="93207"/>
                      </a:cubicBezTo>
                      <a:cubicBezTo>
                        <a:pt x="19334" y="93207"/>
                        <a:pt x="0" y="72342"/>
                        <a:pt x="0" y="46603"/>
                      </a:cubicBezTo>
                      <a:cubicBezTo>
                        <a:pt x="0" y="20865"/>
                        <a:pt x="19334" y="0"/>
                        <a:pt x="43183" y="0"/>
                      </a:cubicBezTo>
                      <a:cubicBezTo>
                        <a:pt x="67032" y="0"/>
                        <a:pt x="86366" y="20865"/>
                        <a:pt x="86366" y="46603"/>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0" name="Graphic 2">
                  <a:extLst>
                    <a:ext uri="{FF2B5EF4-FFF2-40B4-BE49-F238E27FC236}">
                      <a16:creationId xmlns:a16="http://schemas.microsoft.com/office/drawing/2014/main" id="{9197AF41-8765-470B-9CE6-1E27F22D63D8}"/>
                    </a:ext>
                  </a:extLst>
                </p:cNvPr>
                <p:cNvSpPr/>
                <p:nvPr/>
              </p:nvSpPr>
              <p:spPr>
                <a:xfrm>
                  <a:off x="5497200" y="5508549"/>
                  <a:ext cx="302190" cy="14541"/>
                </a:xfrm>
                <a:custGeom>
                  <a:avLst/>
                  <a:gdLst>
                    <a:gd name="connsiteX0" fmla="*/ 2927667 w 2927666"/>
                    <a:gd name="connsiteY0" fmla="*/ 36556 h 140878"/>
                    <a:gd name="connsiteX1" fmla="*/ 0 w 2927666"/>
                    <a:gd name="connsiteY1" fmla="*/ 140879 h 140878"/>
                    <a:gd name="connsiteX2" fmla="*/ 0 w 2927666"/>
                    <a:gd name="connsiteY2" fmla="*/ 104109 h 140878"/>
                    <a:gd name="connsiteX3" fmla="*/ 2927667 w 2927666"/>
                    <a:gd name="connsiteY3" fmla="*/ 0 h 140878"/>
                  </a:gdLst>
                  <a:ahLst/>
                  <a:cxnLst>
                    <a:cxn ang="0">
                      <a:pos x="connsiteX0" y="connsiteY0"/>
                    </a:cxn>
                    <a:cxn ang="0">
                      <a:pos x="connsiteX1" y="connsiteY1"/>
                    </a:cxn>
                    <a:cxn ang="0">
                      <a:pos x="connsiteX2" y="connsiteY2"/>
                    </a:cxn>
                    <a:cxn ang="0">
                      <a:pos x="connsiteX3" y="connsiteY3"/>
                    </a:cxn>
                  </a:cxnLst>
                  <a:rect l="l" t="t" r="r" b="b"/>
                  <a:pathLst>
                    <a:path w="2927666" h="140878">
                      <a:moveTo>
                        <a:pt x="2927667" y="36556"/>
                      </a:moveTo>
                      <a:lnTo>
                        <a:pt x="0" y="140879"/>
                      </a:lnTo>
                      <a:lnTo>
                        <a:pt x="0" y="104109"/>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1" name="Graphic 2">
                  <a:extLst>
                    <a:ext uri="{FF2B5EF4-FFF2-40B4-BE49-F238E27FC236}">
                      <a16:creationId xmlns:a16="http://schemas.microsoft.com/office/drawing/2014/main" id="{43C13590-5BFB-44CE-B42B-2CA083172F2C}"/>
                    </a:ext>
                  </a:extLst>
                </p:cNvPr>
                <p:cNvSpPr/>
                <p:nvPr/>
              </p:nvSpPr>
              <p:spPr>
                <a:xfrm>
                  <a:off x="5497200" y="5517398"/>
                  <a:ext cx="302190" cy="14541"/>
                </a:xfrm>
                <a:custGeom>
                  <a:avLst/>
                  <a:gdLst>
                    <a:gd name="connsiteX0" fmla="*/ 2927667 w 2927666"/>
                    <a:gd name="connsiteY0" fmla="*/ 36769 h 140878"/>
                    <a:gd name="connsiteX1" fmla="*/ 0 w 2927666"/>
                    <a:gd name="connsiteY1" fmla="*/ 140879 h 140878"/>
                    <a:gd name="connsiteX2" fmla="*/ 0 w 2927666"/>
                    <a:gd name="connsiteY2" fmla="*/ 104323 h 140878"/>
                    <a:gd name="connsiteX3" fmla="*/ 2927667 w 2927666"/>
                    <a:gd name="connsiteY3" fmla="*/ 0 h 140878"/>
                  </a:gdLst>
                  <a:ahLst/>
                  <a:cxnLst>
                    <a:cxn ang="0">
                      <a:pos x="connsiteX0" y="connsiteY0"/>
                    </a:cxn>
                    <a:cxn ang="0">
                      <a:pos x="connsiteX1" y="connsiteY1"/>
                    </a:cxn>
                    <a:cxn ang="0">
                      <a:pos x="connsiteX2" y="connsiteY2"/>
                    </a:cxn>
                    <a:cxn ang="0">
                      <a:pos x="connsiteX3" y="connsiteY3"/>
                    </a:cxn>
                  </a:cxnLst>
                  <a:rect l="l" t="t" r="r" b="b"/>
                  <a:pathLst>
                    <a:path w="2927666" h="140878">
                      <a:moveTo>
                        <a:pt x="2927667" y="36769"/>
                      </a:moveTo>
                      <a:lnTo>
                        <a:pt x="0" y="140879"/>
                      </a:lnTo>
                      <a:lnTo>
                        <a:pt x="0" y="104323"/>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2" name="Graphic 2">
                  <a:extLst>
                    <a:ext uri="{FF2B5EF4-FFF2-40B4-BE49-F238E27FC236}">
                      <a16:creationId xmlns:a16="http://schemas.microsoft.com/office/drawing/2014/main" id="{C085AFB5-D126-4BD7-B6F9-2C7B1875B0B5}"/>
                    </a:ext>
                  </a:extLst>
                </p:cNvPr>
                <p:cNvSpPr/>
                <p:nvPr/>
              </p:nvSpPr>
              <p:spPr>
                <a:xfrm>
                  <a:off x="5497200" y="5526268"/>
                  <a:ext cx="302190" cy="14541"/>
                </a:xfrm>
                <a:custGeom>
                  <a:avLst/>
                  <a:gdLst>
                    <a:gd name="connsiteX0" fmla="*/ 2927667 w 2927666"/>
                    <a:gd name="connsiteY0" fmla="*/ 36770 h 140878"/>
                    <a:gd name="connsiteX1" fmla="*/ 0 w 2927666"/>
                    <a:gd name="connsiteY1" fmla="*/ 140879 h 140878"/>
                    <a:gd name="connsiteX2" fmla="*/ 0 w 2927666"/>
                    <a:gd name="connsiteY2" fmla="*/ 104109 h 140878"/>
                    <a:gd name="connsiteX3" fmla="*/ 2927667 w 2927666"/>
                    <a:gd name="connsiteY3" fmla="*/ 0 h 140878"/>
                  </a:gdLst>
                  <a:ahLst/>
                  <a:cxnLst>
                    <a:cxn ang="0">
                      <a:pos x="connsiteX0" y="connsiteY0"/>
                    </a:cxn>
                    <a:cxn ang="0">
                      <a:pos x="connsiteX1" y="connsiteY1"/>
                    </a:cxn>
                    <a:cxn ang="0">
                      <a:pos x="connsiteX2" y="connsiteY2"/>
                    </a:cxn>
                    <a:cxn ang="0">
                      <a:pos x="connsiteX3" y="connsiteY3"/>
                    </a:cxn>
                  </a:cxnLst>
                  <a:rect l="l" t="t" r="r" b="b"/>
                  <a:pathLst>
                    <a:path w="2927666" h="140878">
                      <a:moveTo>
                        <a:pt x="2927667" y="36770"/>
                      </a:moveTo>
                      <a:lnTo>
                        <a:pt x="0" y="140879"/>
                      </a:lnTo>
                      <a:lnTo>
                        <a:pt x="0" y="104109"/>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3" name="Graphic 2">
                  <a:extLst>
                    <a:ext uri="{FF2B5EF4-FFF2-40B4-BE49-F238E27FC236}">
                      <a16:creationId xmlns:a16="http://schemas.microsoft.com/office/drawing/2014/main" id="{47CD3675-73D2-4CC4-808A-BC76DD060AA9}"/>
                    </a:ext>
                  </a:extLst>
                </p:cNvPr>
                <p:cNvSpPr/>
                <p:nvPr/>
              </p:nvSpPr>
              <p:spPr>
                <a:xfrm>
                  <a:off x="5497200" y="5535138"/>
                  <a:ext cx="302190" cy="14541"/>
                </a:xfrm>
                <a:custGeom>
                  <a:avLst/>
                  <a:gdLst>
                    <a:gd name="connsiteX0" fmla="*/ 2927667 w 2927666"/>
                    <a:gd name="connsiteY0" fmla="*/ 36556 h 140878"/>
                    <a:gd name="connsiteX1" fmla="*/ 0 w 2927666"/>
                    <a:gd name="connsiteY1" fmla="*/ 140879 h 140878"/>
                    <a:gd name="connsiteX2" fmla="*/ 0 w 2927666"/>
                    <a:gd name="connsiteY2" fmla="*/ 104109 h 140878"/>
                    <a:gd name="connsiteX3" fmla="*/ 2927667 w 2927666"/>
                    <a:gd name="connsiteY3" fmla="*/ 0 h 140878"/>
                  </a:gdLst>
                  <a:ahLst/>
                  <a:cxnLst>
                    <a:cxn ang="0">
                      <a:pos x="connsiteX0" y="connsiteY0"/>
                    </a:cxn>
                    <a:cxn ang="0">
                      <a:pos x="connsiteX1" y="connsiteY1"/>
                    </a:cxn>
                    <a:cxn ang="0">
                      <a:pos x="connsiteX2" y="connsiteY2"/>
                    </a:cxn>
                    <a:cxn ang="0">
                      <a:pos x="connsiteX3" y="connsiteY3"/>
                    </a:cxn>
                  </a:cxnLst>
                  <a:rect l="l" t="t" r="r" b="b"/>
                  <a:pathLst>
                    <a:path w="2927666" h="140878">
                      <a:moveTo>
                        <a:pt x="2927667" y="36556"/>
                      </a:moveTo>
                      <a:lnTo>
                        <a:pt x="0" y="140879"/>
                      </a:lnTo>
                      <a:lnTo>
                        <a:pt x="0" y="104109"/>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4" name="Graphic 2">
                  <a:extLst>
                    <a:ext uri="{FF2B5EF4-FFF2-40B4-BE49-F238E27FC236}">
                      <a16:creationId xmlns:a16="http://schemas.microsoft.com/office/drawing/2014/main" id="{D4F6926D-B8F6-477C-BF33-1B95B0A77C62}"/>
                    </a:ext>
                  </a:extLst>
                </p:cNvPr>
                <p:cNvSpPr/>
                <p:nvPr/>
              </p:nvSpPr>
              <p:spPr>
                <a:xfrm>
                  <a:off x="5497200" y="5543987"/>
                  <a:ext cx="302190" cy="14541"/>
                </a:xfrm>
                <a:custGeom>
                  <a:avLst/>
                  <a:gdLst>
                    <a:gd name="connsiteX0" fmla="*/ 2927667 w 2927666"/>
                    <a:gd name="connsiteY0" fmla="*/ 36769 h 140878"/>
                    <a:gd name="connsiteX1" fmla="*/ 0 w 2927666"/>
                    <a:gd name="connsiteY1" fmla="*/ 140879 h 140878"/>
                    <a:gd name="connsiteX2" fmla="*/ 0 w 2927666"/>
                    <a:gd name="connsiteY2" fmla="*/ 104323 h 140878"/>
                    <a:gd name="connsiteX3" fmla="*/ 2927667 w 2927666"/>
                    <a:gd name="connsiteY3" fmla="*/ 0 h 140878"/>
                  </a:gdLst>
                  <a:ahLst/>
                  <a:cxnLst>
                    <a:cxn ang="0">
                      <a:pos x="connsiteX0" y="connsiteY0"/>
                    </a:cxn>
                    <a:cxn ang="0">
                      <a:pos x="connsiteX1" y="connsiteY1"/>
                    </a:cxn>
                    <a:cxn ang="0">
                      <a:pos x="connsiteX2" y="connsiteY2"/>
                    </a:cxn>
                    <a:cxn ang="0">
                      <a:pos x="connsiteX3" y="connsiteY3"/>
                    </a:cxn>
                  </a:cxnLst>
                  <a:rect l="l" t="t" r="r" b="b"/>
                  <a:pathLst>
                    <a:path w="2927666" h="140878">
                      <a:moveTo>
                        <a:pt x="2927667" y="36769"/>
                      </a:moveTo>
                      <a:lnTo>
                        <a:pt x="0" y="140879"/>
                      </a:lnTo>
                      <a:lnTo>
                        <a:pt x="0" y="104323"/>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5" name="Graphic 2">
                  <a:extLst>
                    <a:ext uri="{FF2B5EF4-FFF2-40B4-BE49-F238E27FC236}">
                      <a16:creationId xmlns:a16="http://schemas.microsoft.com/office/drawing/2014/main" id="{C4BDB0ED-AD29-4894-97D4-3A17CA8DB258}"/>
                    </a:ext>
                  </a:extLst>
                </p:cNvPr>
                <p:cNvSpPr/>
                <p:nvPr/>
              </p:nvSpPr>
              <p:spPr>
                <a:xfrm>
                  <a:off x="5497200" y="5552857"/>
                  <a:ext cx="302190" cy="14541"/>
                </a:xfrm>
                <a:custGeom>
                  <a:avLst/>
                  <a:gdLst>
                    <a:gd name="connsiteX0" fmla="*/ 2927667 w 2927666"/>
                    <a:gd name="connsiteY0" fmla="*/ 36556 h 140878"/>
                    <a:gd name="connsiteX1" fmla="*/ 0 w 2927666"/>
                    <a:gd name="connsiteY1" fmla="*/ 140879 h 140878"/>
                    <a:gd name="connsiteX2" fmla="*/ 0 w 2927666"/>
                    <a:gd name="connsiteY2" fmla="*/ 104109 h 140878"/>
                    <a:gd name="connsiteX3" fmla="*/ 2927667 w 2927666"/>
                    <a:gd name="connsiteY3" fmla="*/ 0 h 140878"/>
                  </a:gdLst>
                  <a:ahLst/>
                  <a:cxnLst>
                    <a:cxn ang="0">
                      <a:pos x="connsiteX0" y="connsiteY0"/>
                    </a:cxn>
                    <a:cxn ang="0">
                      <a:pos x="connsiteX1" y="connsiteY1"/>
                    </a:cxn>
                    <a:cxn ang="0">
                      <a:pos x="connsiteX2" y="connsiteY2"/>
                    </a:cxn>
                    <a:cxn ang="0">
                      <a:pos x="connsiteX3" y="connsiteY3"/>
                    </a:cxn>
                  </a:cxnLst>
                  <a:rect l="l" t="t" r="r" b="b"/>
                  <a:pathLst>
                    <a:path w="2927666" h="140878">
                      <a:moveTo>
                        <a:pt x="2927667" y="36556"/>
                      </a:moveTo>
                      <a:lnTo>
                        <a:pt x="0" y="140879"/>
                      </a:lnTo>
                      <a:lnTo>
                        <a:pt x="0" y="104109"/>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6" name="Graphic 2">
                  <a:extLst>
                    <a:ext uri="{FF2B5EF4-FFF2-40B4-BE49-F238E27FC236}">
                      <a16:creationId xmlns:a16="http://schemas.microsoft.com/office/drawing/2014/main" id="{968B471E-1BE2-40FD-BD20-62CF0065C09F}"/>
                    </a:ext>
                  </a:extLst>
                </p:cNvPr>
                <p:cNvSpPr/>
                <p:nvPr/>
              </p:nvSpPr>
              <p:spPr>
                <a:xfrm>
                  <a:off x="5497200" y="5561728"/>
                  <a:ext cx="302190" cy="14519"/>
                </a:xfrm>
                <a:custGeom>
                  <a:avLst/>
                  <a:gdLst>
                    <a:gd name="connsiteX0" fmla="*/ 2927667 w 2927666"/>
                    <a:gd name="connsiteY0" fmla="*/ 36556 h 140664"/>
                    <a:gd name="connsiteX1" fmla="*/ 0 w 2927666"/>
                    <a:gd name="connsiteY1" fmla="*/ 140665 h 140664"/>
                    <a:gd name="connsiteX2" fmla="*/ 0 w 2927666"/>
                    <a:gd name="connsiteY2" fmla="*/ 104109 h 140664"/>
                    <a:gd name="connsiteX3" fmla="*/ 2927667 w 2927666"/>
                    <a:gd name="connsiteY3" fmla="*/ 0 h 140664"/>
                  </a:gdLst>
                  <a:ahLst/>
                  <a:cxnLst>
                    <a:cxn ang="0">
                      <a:pos x="connsiteX0" y="connsiteY0"/>
                    </a:cxn>
                    <a:cxn ang="0">
                      <a:pos x="connsiteX1" y="connsiteY1"/>
                    </a:cxn>
                    <a:cxn ang="0">
                      <a:pos x="connsiteX2" y="connsiteY2"/>
                    </a:cxn>
                    <a:cxn ang="0">
                      <a:pos x="connsiteX3" y="connsiteY3"/>
                    </a:cxn>
                  </a:cxnLst>
                  <a:rect l="l" t="t" r="r" b="b"/>
                  <a:pathLst>
                    <a:path w="2927666" h="140664">
                      <a:moveTo>
                        <a:pt x="2927667" y="36556"/>
                      </a:moveTo>
                      <a:lnTo>
                        <a:pt x="0" y="140665"/>
                      </a:lnTo>
                      <a:lnTo>
                        <a:pt x="0" y="104109"/>
                      </a:lnTo>
                      <a:lnTo>
                        <a:pt x="292766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7" name="Graphic 2">
                  <a:extLst>
                    <a:ext uri="{FF2B5EF4-FFF2-40B4-BE49-F238E27FC236}">
                      <a16:creationId xmlns:a16="http://schemas.microsoft.com/office/drawing/2014/main" id="{02164B0D-9707-4798-813D-EF1A386E4EA0}"/>
                    </a:ext>
                  </a:extLst>
                </p:cNvPr>
                <p:cNvSpPr/>
                <p:nvPr/>
              </p:nvSpPr>
              <p:spPr>
                <a:xfrm>
                  <a:off x="5273277" y="5579579"/>
                  <a:ext cx="9532" cy="37049"/>
                </a:xfrm>
                <a:custGeom>
                  <a:avLst/>
                  <a:gdLst>
                    <a:gd name="connsiteX0" fmla="*/ 24584 w 92352"/>
                    <a:gd name="connsiteY0" fmla="*/ 358930 h 358930"/>
                    <a:gd name="connsiteX1" fmla="*/ 0 w 92352"/>
                    <a:gd name="connsiteY1" fmla="*/ 334346 h 358930"/>
                    <a:gd name="connsiteX2" fmla="*/ 24584 w 92352"/>
                    <a:gd name="connsiteY2" fmla="*/ 309762 h 358930"/>
                    <a:gd name="connsiteX3" fmla="*/ 43183 w 92352"/>
                    <a:gd name="connsiteY3" fmla="*/ 291163 h 358930"/>
                    <a:gd name="connsiteX4" fmla="*/ 43183 w 92352"/>
                    <a:gd name="connsiteY4" fmla="*/ 67767 h 358930"/>
                    <a:gd name="connsiteX5" fmla="*/ 24584 w 92352"/>
                    <a:gd name="connsiteY5" fmla="*/ 49169 h 358930"/>
                    <a:gd name="connsiteX6" fmla="*/ 0 w 92352"/>
                    <a:gd name="connsiteY6" fmla="*/ 24584 h 358930"/>
                    <a:gd name="connsiteX7" fmla="*/ 24584 w 92352"/>
                    <a:gd name="connsiteY7" fmla="*/ 0 h 358930"/>
                    <a:gd name="connsiteX8" fmla="*/ 92352 w 92352"/>
                    <a:gd name="connsiteY8" fmla="*/ 67767 h 358930"/>
                    <a:gd name="connsiteX9" fmla="*/ 92352 w 92352"/>
                    <a:gd name="connsiteY9" fmla="*/ 290949 h 358930"/>
                    <a:gd name="connsiteX10" fmla="*/ 24584 w 92352"/>
                    <a:gd name="connsiteY10" fmla="*/ 358930 h 358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352" h="358930">
                      <a:moveTo>
                        <a:pt x="24584" y="358930"/>
                      </a:moveTo>
                      <a:cubicBezTo>
                        <a:pt x="10903" y="358930"/>
                        <a:pt x="0" y="348028"/>
                        <a:pt x="0" y="334346"/>
                      </a:cubicBezTo>
                      <a:cubicBezTo>
                        <a:pt x="0" y="320664"/>
                        <a:pt x="10903" y="309762"/>
                        <a:pt x="24584" y="309762"/>
                      </a:cubicBezTo>
                      <a:cubicBezTo>
                        <a:pt x="34846" y="309762"/>
                        <a:pt x="43183" y="301425"/>
                        <a:pt x="43183" y="291163"/>
                      </a:cubicBezTo>
                      <a:lnTo>
                        <a:pt x="43183" y="67767"/>
                      </a:lnTo>
                      <a:cubicBezTo>
                        <a:pt x="43183" y="57506"/>
                        <a:pt x="34846" y="49169"/>
                        <a:pt x="24584" y="49169"/>
                      </a:cubicBezTo>
                      <a:cubicBezTo>
                        <a:pt x="10903" y="49169"/>
                        <a:pt x="0" y="38266"/>
                        <a:pt x="0" y="24584"/>
                      </a:cubicBezTo>
                      <a:cubicBezTo>
                        <a:pt x="0" y="10903"/>
                        <a:pt x="10903" y="0"/>
                        <a:pt x="24584" y="0"/>
                      </a:cubicBezTo>
                      <a:cubicBezTo>
                        <a:pt x="61995" y="0"/>
                        <a:pt x="92352" y="30356"/>
                        <a:pt x="92352" y="67767"/>
                      </a:cubicBezTo>
                      <a:lnTo>
                        <a:pt x="92352" y="290949"/>
                      </a:lnTo>
                      <a:cubicBezTo>
                        <a:pt x="92565" y="328574"/>
                        <a:pt x="61995" y="358930"/>
                        <a:pt x="24584" y="358930"/>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8" name="Graphic 2">
                  <a:extLst>
                    <a:ext uri="{FF2B5EF4-FFF2-40B4-BE49-F238E27FC236}">
                      <a16:creationId xmlns:a16="http://schemas.microsoft.com/office/drawing/2014/main" id="{47EAE356-2527-43E4-A42E-08AE631EF603}"/>
                    </a:ext>
                  </a:extLst>
                </p:cNvPr>
                <p:cNvSpPr/>
                <p:nvPr/>
              </p:nvSpPr>
              <p:spPr>
                <a:xfrm>
                  <a:off x="5302580" y="5578476"/>
                  <a:ext cx="9532" cy="37026"/>
                </a:xfrm>
                <a:custGeom>
                  <a:avLst/>
                  <a:gdLst>
                    <a:gd name="connsiteX0" fmla="*/ 24584 w 92351"/>
                    <a:gd name="connsiteY0" fmla="*/ 358717 h 358716"/>
                    <a:gd name="connsiteX1" fmla="*/ 0 w 92351"/>
                    <a:gd name="connsiteY1" fmla="*/ 334132 h 358716"/>
                    <a:gd name="connsiteX2" fmla="*/ 24584 w 92351"/>
                    <a:gd name="connsiteY2" fmla="*/ 309548 h 358716"/>
                    <a:gd name="connsiteX3" fmla="*/ 43183 w 92351"/>
                    <a:gd name="connsiteY3" fmla="*/ 290949 h 358716"/>
                    <a:gd name="connsiteX4" fmla="*/ 43183 w 92351"/>
                    <a:gd name="connsiteY4" fmla="*/ 67767 h 358716"/>
                    <a:gd name="connsiteX5" fmla="*/ 24584 w 92351"/>
                    <a:gd name="connsiteY5" fmla="*/ 49169 h 358716"/>
                    <a:gd name="connsiteX6" fmla="*/ 0 w 92351"/>
                    <a:gd name="connsiteY6" fmla="*/ 24584 h 358716"/>
                    <a:gd name="connsiteX7" fmla="*/ 24584 w 92351"/>
                    <a:gd name="connsiteY7" fmla="*/ 0 h 358716"/>
                    <a:gd name="connsiteX8" fmla="*/ 92351 w 92351"/>
                    <a:gd name="connsiteY8" fmla="*/ 67767 h 358716"/>
                    <a:gd name="connsiteX9" fmla="*/ 92351 w 92351"/>
                    <a:gd name="connsiteY9" fmla="*/ 290949 h 358716"/>
                    <a:gd name="connsiteX10" fmla="*/ 24584 w 92351"/>
                    <a:gd name="connsiteY10" fmla="*/ 358717 h 35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351" h="358716">
                      <a:moveTo>
                        <a:pt x="24584" y="358717"/>
                      </a:moveTo>
                      <a:cubicBezTo>
                        <a:pt x="10903" y="358717"/>
                        <a:pt x="0" y="347814"/>
                        <a:pt x="0" y="334132"/>
                      </a:cubicBezTo>
                      <a:cubicBezTo>
                        <a:pt x="0" y="320450"/>
                        <a:pt x="10903" y="309548"/>
                        <a:pt x="24584" y="309548"/>
                      </a:cubicBezTo>
                      <a:cubicBezTo>
                        <a:pt x="34846" y="309548"/>
                        <a:pt x="43183" y="301211"/>
                        <a:pt x="43183" y="290949"/>
                      </a:cubicBezTo>
                      <a:lnTo>
                        <a:pt x="43183" y="67767"/>
                      </a:lnTo>
                      <a:cubicBezTo>
                        <a:pt x="43183" y="57506"/>
                        <a:pt x="34846" y="49169"/>
                        <a:pt x="24584" y="49169"/>
                      </a:cubicBezTo>
                      <a:cubicBezTo>
                        <a:pt x="10903" y="49169"/>
                        <a:pt x="0" y="38266"/>
                        <a:pt x="0" y="24584"/>
                      </a:cubicBezTo>
                      <a:cubicBezTo>
                        <a:pt x="0" y="10903"/>
                        <a:pt x="10903" y="0"/>
                        <a:pt x="24584" y="0"/>
                      </a:cubicBezTo>
                      <a:cubicBezTo>
                        <a:pt x="61995" y="0"/>
                        <a:pt x="92351" y="30356"/>
                        <a:pt x="92351" y="67767"/>
                      </a:cubicBezTo>
                      <a:lnTo>
                        <a:pt x="92351" y="290949"/>
                      </a:lnTo>
                      <a:cubicBezTo>
                        <a:pt x="92351" y="328360"/>
                        <a:pt x="61995" y="358717"/>
                        <a:pt x="24584" y="358717"/>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59" name="Graphic 2">
                  <a:extLst>
                    <a:ext uri="{FF2B5EF4-FFF2-40B4-BE49-F238E27FC236}">
                      <a16:creationId xmlns:a16="http://schemas.microsoft.com/office/drawing/2014/main" id="{CCD17CE6-AAF7-42BE-A381-ABF197E7B82A}"/>
                    </a:ext>
                  </a:extLst>
                </p:cNvPr>
                <p:cNvSpPr/>
                <p:nvPr/>
              </p:nvSpPr>
              <p:spPr>
                <a:xfrm>
                  <a:off x="5235964" y="5604590"/>
                  <a:ext cx="35393" cy="19716"/>
                </a:xfrm>
                <a:custGeom>
                  <a:avLst/>
                  <a:gdLst>
                    <a:gd name="connsiteX0" fmla="*/ 87435 w 342897"/>
                    <a:gd name="connsiteY0" fmla="*/ 29401 h 191015"/>
                    <a:gd name="connsiteX1" fmla="*/ 16247 w 342897"/>
                    <a:gd name="connsiteY1" fmla="*/ 101657 h 191015"/>
                    <a:gd name="connsiteX2" fmla="*/ 0 w 342897"/>
                    <a:gd name="connsiteY2" fmla="*/ 171990 h 191015"/>
                    <a:gd name="connsiteX3" fmla="*/ 75036 w 342897"/>
                    <a:gd name="connsiteY3" fmla="*/ 171990 h 191015"/>
                    <a:gd name="connsiteX4" fmla="*/ 75036 w 342897"/>
                    <a:gd name="connsiteY4" fmla="*/ 191016 h 191015"/>
                    <a:gd name="connsiteX5" fmla="*/ 295439 w 342897"/>
                    <a:gd name="connsiteY5" fmla="*/ 191016 h 191015"/>
                    <a:gd name="connsiteX6" fmla="*/ 295439 w 342897"/>
                    <a:gd name="connsiteY6" fmla="*/ 162584 h 191015"/>
                    <a:gd name="connsiteX7" fmla="*/ 342897 w 342897"/>
                    <a:gd name="connsiteY7" fmla="*/ 162584 h 191015"/>
                    <a:gd name="connsiteX8" fmla="*/ 232375 w 342897"/>
                    <a:gd name="connsiteY8" fmla="*/ 12085 h 191015"/>
                    <a:gd name="connsiteX9" fmla="*/ 87435 w 342897"/>
                    <a:gd name="connsiteY9" fmla="*/ 29401 h 19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897" h="191015">
                      <a:moveTo>
                        <a:pt x="87435" y="29401"/>
                      </a:moveTo>
                      <a:cubicBezTo>
                        <a:pt x="87435" y="29401"/>
                        <a:pt x="31425" y="57833"/>
                        <a:pt x="16247" y="101657"/>
                      </a:cubicBezTo>
                      <a:cubicBezTo>
                        <a:pt x="1069" y="145268"/>
                        <a:pt x="0" y="171990"/>
                        <a:pt x="0" y="171990"/>
                      </a:cubicBezTo>
                      <a:lnTo>
                        <a:pt x="75036" y="171990"/>
                      </a:lnTo>
                      <a:lnTo>
                        <a:pt x="75036" y="191016"/>
                      </a:lnTo>
                      <a:lnTo>
                        <a:pt x="295439" y="191016"/>
                      </a:lnTo>
                      <a:lnTo>
                        <a:pt x="295439" y="162584"/>
                      </a:lnTo>
                      <a:lnTo>
                        <a:pt x="342897" y="162584"/>
                      </a:lnTo>
                      <a:cubicBezTo>
                        <a:pt x="342897" y="162584"/>
                        <a:pt x="339477" y="46931"/>
                        <a:pt x="232375" y="12085"/>
                      </a:cubicBezTo>
                      <a:cubicBezTo>
                        <a:pt x="125273" y="-22974"/>
                        <a:pt x="87435" y="29401"/>
                        <a:pt x="87435" y="29401"/>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0" name="Graphic 2">
                  <a:extLst>
                    <a:ext uri="{FF2B5EF4-FFF2-40B4-BE49-F238E27FC236}">
                      <a16:creationId xmlns:a16="http://schemas.microsoft.com/office/drawing/2014/main" id="{41EDBD98-66C9-4B5D-997B-900DCF2E2881}"/>
                    </a:ext>
                  </a:extLst>
                </p:cNvPr>
                <p:cNvSpPr/>
                <p:nvPr/>
              </p:nvSpPr>
              <p:spPr>
                <a:xfrm>
                  <a:off x="5232417" y="5567418"/>
                  <a:ext cx="35046" cy="20764"/>
                </a:xfrm>
                <a:custGeom>
                  <a:avLst/>
                  <a:gdLst>
                    <a:gd name="connsiteX0" fmla="*/ 333652 w 339534"/>
                    <a:gd name="connsiteY0" fmla="*/ 126368 h 201163"/>
                    <a:gd name="connsiteX1" fmla="*/ 312061 w 339534"/>
                    <a:gd name="connsiteY1" fmla="*/ 6012 h 201163"/>
                    <a:gd name="connsiteX2" fmla="*/ 33297 w 339534"/>
                    <a:gd name="connsiteY2" fmla="*/ 106915 h 201163"/>
                    <a:gd name="connsiteX3" fmla="*/ 92940 w 339534"/>
                    <a:gd name="connsiteY3" fmla="*/ 197128 h 201163"/>
                    <a:gd name="connsiteX4" fmla="*/ 333652 w 339534"/>
                    <a:gd name="connsiteY4" fmla="*/ 126368 h 201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534" h="201163">
                      <a:moveTo>
                        <a:pt x="333652" y="126368"/>
                      </a:moveTo>
                      <a:cubicBezTo>
                        <a:pt x="333652" y="126368"/>
                        <a:pt x="356527" y="21190"/>
                        <a:pt x="312061" y="6012"/>
                      </a:cubicBezTo>
                      <a:cubicBezTo>
                        <a:pt x="267595" y="-9166"/>
                        <a:pt x="118166" y="-2325"/>
                        <a:pt x="33297" y="106915"/>
                      </a:cubicBezTo>
                      <a:cubicBezTo>
                        <a:pt x="-51573" y="216154"/>
                        <a:pt x="47192" y="203542"/>
                        <a:pt x="92940" y="197128"/>
                      </a:cubicBezTo>
                      <a:cubicBezTo>
                        <a:pt x="138688" y="190715"/>
                        <a:pt x="159211" y="137698"/>
                        <a:pt x="333652" y="126368"/>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1" name="Graphic 2">
                  <a:extLst>
                    <a:ext uri="{FF2B5EF4-FFF2-40B4-BE49-F238E27FC236}">
                      <a16:creationId xmlns:a16="http://schemas.microsoft.com/office/drawing/2014/main" id="{C0804A6A-44B1-4EFC-A03F-54F267CD8A2E}"/>
                    </a:ext>
                  </a:extLst>
                </p:cNvPr>
                <p:cNvSpPr/>
                <p:nvPr/>
              </p:nvSpPr>
              <p:spPr>
                <a:xfrm>
                  <a:off x="5234982" y="5578687"/>
                  <a:ext cx="32843" cy="28934"/>
                </a:xfrm>
                <a:custGeom>
                  <a:avLst/>
                  <a:gdLst>
                    <a:gd name="connsiteX0" fmla="*/ 27476 w 318186"/>
                    <a:gd name="connsiteY0" fmla="*/ 177098 h 280317"/>
                    <a:gd name="connsiteX1" fmla="*/ 171989 w 318186"/>
                    <a:gd name="connsiteY1" fmla="*/ 279497 h 280317"/>
                    <a:gd name="connsiteX2" fmla="*/ 314578 w 318186"/>
                    <a:gd name="connsiteY2" fmla="*/ 169188 h 280317"/>
                    <a:gd name="connsiteX3" fmla="*/ 308806 w 318186"/>
                    <a:gd name="connsiteY3" fmla="*/ 17193 h 280317"/>
                    <a:gd name="connsiteX4" fmla="*/ 18712 w 318186"/>
                    <a:gd name="connsiteY4" fmla="*/ 92015 h 280317"/>
                    <a:gd name="connsiteX5" fmla="*/ 18712 w 318186"/>
                    <a:gd name="connsiteY5" fmla="*/ 115103 h 280317"/>
                    <a:gd name="connsiteX6" fmla="*/ 968 w 318186"/>
                    <a:gd name="connsiteY6" fmla="*/ 140328 h 280317"/>
                    <a:gd name="connsiteX7" fmla="*/ 27476 w 318186"/>
                    <a:gd name="connsiteY7" fmla="*/ 177098 h 28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186" h="280317">
                      <a:moveTo>
                        <a:pt x="27476" y="177098"/>
                      </a:moveTo>
                      <a:cubicBezTo>
                        <a:pt x="27476" y="177098"/>
                        <a:pt x="71728" y="291040"/>
                        <a:pt x="171989" y="279497"/>
                      </a:cubicBezTo>
                      <a:cubicBezTo>
                        <a:pt x="272037" y="267953"/>
                        <a:pt x="304103" y="227335"/>
                        <a:pt x="314578" y="169188"/>
                      </a:cubicBezTo>
                      <a:cubicBezTo>
                        <a:pt x="325267" y="110827"/>
                        <a:pt x="308806" y="17193"/>
                        <a:pt x="308806" y="17193"/>
                      </a:cubicBezTo>
                      <a:cubicBezTo>
                        <a:pt x="308806" y="17193"/>
                        <a:pt x="137571" y="-53567"/>
                        <a:pt x="18712" y="92015"/>
                      </a:cubicBezTo>
                      <a:lnTo>
                        <a:pt x="18712" y="115103"/>
                      </a:lnTo>
                      <a:cubicBezTo>
                        <a:pt x="18712" y="115103"/>
                        <a:pt x="-5018" y="117027"/>
                        <a:pt x="968" y="140328"/>
                      </a:cubicBezTo>
                      <a:cubicBezTo>
                        <a:pt x="7168" y="163416"/>
                        <a:pt x="27476" y="177098"/>
                        <a:pt x="27476" y="17709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2" name="Graphic 2">
                  <a:extLst>
                    <a:ext uri="{FF2B5EF4-FFF2-40B4-BE49-F238E27FC236}">
                      <a16:creationId xmlns:a16="http://schemas.microsoft.com/office/drawing/2014/main" id="{AE882D76-1B19-450D-8D8F-02A7BE351F7B}"/>
                    </a:ext>
                  </a:extLst>
                </p:cNvPr>
                <p:cNvSpPr/>
                <p:nvPr/>
              </p:nvSpPr>
              <p:spPr>
                <a:xfrm>
                  <a:off x="5195451" y="5624284"/>
                  <a:ext cx="88925" cy="44869"/>
                </a:xfrm>
                <a:custGeom>
                  <a:avLst/>
                  <a:gdLst>
                    <a:gd name="connsiteX0" fmla="*/ 861519 w 861518"/>
                    <a:gd name="connsiteY0" fmla="*/ 0 h 434695"/>
                    <a:gd name="connsiteX1" fmla="*/ 861519 w 861518"/>
                    <a:gd name="connsiteY1" fmla="*/ 391211 h 434695"/>
                    <a:gd name="connsiteX2" fmla="*/ 0 w 861518"/>
                    <a:gd name="connsiteY2" fmla="*/ 426698 h 434695"/>
                    <a:gd name="connsiteX3" fmla="*/ 0 w 861518"/>
                    <a:gd name="connsiteY3" fmla="*/ 214 h 434695"/>
                    <a:gd name="connsiteX4" fmla="*/ 861519 w 861518"/>
                    <a:gd name="connsiteY4" fmla="*/ 214 h 43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518" h="434695">
                      <a:moveTo>
                        <a:pt x="861519" y="0"/>
                      </a:moveTo>
                      <a:lnTo>
                        <a:pt x="861519" y="391211"/>
                      </a:lnTo>
                      <a:cubicBezTo>
                        <a:pt x="861519" y="391211"/>
                        <a:pt x="340760" y="457054"/>
                        <a:pt x="0" y="426698"/>
                      </a:cubicBezTo>
                      <a:lnTo>
                        <a:pt x="0" y="214"/>
                      </a:lnTo>
                      <a:lnTo>
                        <a:pt x="861519" y="214"/>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3" name="Graphic 2">
                  <a:extLst>
                    <a:ext uri="{FF2B5EF4-FFF2-40B4-BE49-F238E27FC236}">
                      <a16:creationId xmlns:a16="http://schemas.microsoft.com/office/drawing/2014/main" id="{9B0CC22D-B042-405D-AE52-C1AA170BC981}"/>
                    </a:ext>
                  </a:extLst>
                </p:cNvPr>
                <p:cNvSpPr/>
                <p:nvPr/>
              </p:nvSpPr>
              <p:spPr>
                <a:xfrm>
                  <a:off x="5296557" y="5624284"/>
                  <a:ext cx="13923" cy="37512"/>
                </a:xfrm>
                <a:custGeom>
                  <a:avLst/>
                  <a:gdLst>
                    <a:gd name="connsiteX0" fmla="*/ 134893 w 134893"/>
                    <a:gd name="connsiteY0" fmla="*/ 0 h 363419"/>
                    <a:gd name="connsiteX1" fmla="*/ 134893 w 134893"/>
                    <a:gd name="connsiteY1" fmla="*/ 319168 h 363419"/>
                    <a:gd name="connsiteX2" fmla="*/ 0 w 134893"/>
                    <a:gd name="connsiteY2" fmla="*/ 363420 h 363419"/>
                    <a:gd name="connsiteX3" fmla="*/ 0 w 134893"/>
                    <a:gd name="connsiteY3" fmla="*/ 0 h 363419"/>
                    <a:gd name="connsiteX4" fmla="*/ 134893 w 134893"/>
                    <a:gd name="connsiteY4" fmla="*/ 0 h 363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93" h="363419">
                      <a:moveTo>
                        <a:pt x="134893" y="0"/>
                      </a:moveTo>
                      <a:lnTo>
                        <a:pt x="134893" y="319168"/>
                      </a:lnTo>
                      <a:cubicBezTo>
                        <a:pt x="134893" y="319168"/>
                        <a:pt x="55154" y="357648"/>
                        <a:pt x="0" y="363420"/>
                      </a:cubicBezTo>
                      <a:lnTo>
                        <a:pt x="0" y="0"/>
                      </a:lnTo>
                      <a:lnTo>
                        <a:pt x="134893"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4" name="Graphic 2">
                  <a:extLst>
                    <a:ext uri="{FF2B5EF4-FFF2-40B4-BE49-F238E27FC236}">
                      <a16:creationId xmlns:a16="http://schemas.microsoft.com/office/drawing/2014/main" id="{643A0DC0-BC2C-4D42-9370-2CBE55CEB09D}"/>
                    </a:ext>
                  </a:extLst>
                </p:cNvPr>
                <p:cNvSpPr/>
                <p:nvPr/>
              </p:nvSpPr>
              <p:spPr>
                <a:xfrm>
                  <a:off x="5369793" y="5524348"/>
                  <a:ext cx="7392" cy="131623"/>
                </a:xfrm>
                <a:custGeom>
                  <a:avLst/>
                  <a:gdLst>
                    <a:gd name="connsiteX0" fmla="*/ 0 w 71615"/>
                    <a:gd name="connsiteY0" fmla="*/ 1496 h 1275175"/>
                    <a:gd name="connsiteX1" fmla="*/ 0 w 71615"/>
                    <a:gd name="connsiteY1" fmla="*/ 1212753 h 1275175"/>
                    <a:gd name="connsiteX2" fmla="*/ 71615 w 71615"/>
                    <a:gd name="connsiteY2" fmla="*/ 1275176 h 1275175"/>
                    <a:gd name="connsiteX3" fmla="*/ 71615 w 71615"/>
                    <a:gd name="connsiteY3" fmla="*/ 0 h 1275175"/>
                  </a:gdLst>
                  <a:ahLst/>
                  <a:cxnLst>
                    <a:cxn ang="0">
                      <a:pos x="connsiteX0" y="connsiteY0"/>
                    </a:cxn>
                    <a:cxn ang="0">
                      <a:pos x="connsiteX1" y="connsiteY1"/>
                    </a:cxn>
                    <a:cxn ang="0">
                      <a:pos x="connsiteX2" y="connsiteY2"/>
                    </a:cxn>
                    <a:cxn ang="0">
                      <a:pos x="connsiteX3" y="connsiteY3"/>
                    </a:cxn>
                  </a:cxnLst>
                  <a:rect l="l" t="t" r="r" b="b"/>
                  <a:pathLst>
                    <a:path w="71615" h="1275175">
                      <a:moveTo>
                        <a:pt x="0" y="1496"/>
                      </a:moveTo>
                      <a:lnTo>
                        <a:pt x="0" y="1212753"/>
                      </a:lnTo>
                      <a:lnTo>
                        <a:pt x="71615" y="1275176"/>
                      </a:lnTo>
                      <a:lnTo>
                        <a:pt x="71615" y="0"/>
                      </a:ln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5" name="Graphic 2">
                  <a:extLst>
                    <a:ext uri="{FF2B5EF4-FFF2-40B4-BE49-F238E27FC236}">
                      <a16:creationId xmlns:a16="http://schemas.microsoft.com/office/drawing/2014/main" id="{315B46C0-CBED-4A09-B03E-820A65BD3817}"/>
                    </a:ext>
                  </a:extLst>
                </p:cNvPr>
                <p:cNvSpPr/>
                <p:nvPr/>
              </p:nvSpPr>
              <p:spPr>
                <a:xfrm>
                  <a:off x="5296557" y="5649528"/>
                  <a:ext cx="80628" cy="26633"/>
                </a:xfrm>
                <a:custGeom>
                  <a:avLst/>
                  <a:gdLst>
                    <a:gd name="connsiteX0" fmla="*/ 134893 w 781138"/>
                    <a:gd name="connsiteY0" fmla="*/ 20522 h 258027"/>
                    <a:gd name="connsiteX1" fmla="*/ 709524 w 781138"/>
                    <a:gd name="connsiteY1" fmla="*/ 0 h 258027"/>
                    <a:gd name="connsiteX2" fmla="*/ 781139 w 781138"/>
                    <a:gd name="connsiteY2" fmla="*/ 62423 h 258027"/>
                    <a:gd name="connsiteX3" fmla="*/ 781139 w 781138"/>
                    <a:gd name="connsiteY3" fmla="*/ 206722 h 258027"/>
                    <a:gd name="connsiteX4" fmla="*/ 0 w 781138"/>
                    <a:gd name="connsiteY4" fmla="*/ 258028 h 258027"/>
                    <a:gd name="connsiteX5" fmla="*/ 0 w 781138"/>
                    <a:gd name="connsiteY5" fmla="*/ 20522 h 258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138" h="258027">
                      <a:moveTo>
                        <a:pt x="134893" y="20522"/>
                      </a:moveTo>
                      <a:lnTo>
                        <a:pt x="709524" y="0"/>
                      </a:lnTo>
                      <a:lnTo>
                        <a:pt x="781139" y="62423"/>
                      </a:lnTo>
                      <a:lnTo>
                        <a:pt x="781139" y="206722"/>
                      </a:lnTo>
                      <a:lnTo>
                        <a:pt x="0" y="258028"/>
                      </a:lnTo>
                      <a:lnTo>
                        <a:pt x="0" y="20522"/>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6" name="Graphic 2">
                  <a:extLst>
                    <a:ext uri="{FF2B5EF4-FFF2-40B4-BE49-F238E27FC236}">
                      <a16:creationId xmlns:a16="http://schemas.microsoft.com/office/drawing/2014/main" id="{AF86A91E-E864-46FA-8AC7-C14B681A2BF4}"/>
                    </a:ext>
                  </a:extLst>
                </p:cNvPr>
                <p:cNvSpPr/>
                <p:nvPr/>
              </p:nvSpPr>
              <p:spPr>
                <a:xfrm>
                  <a:off x="5195451" y="5653389"/>
                  <a:ext cx="89410" cy="27494"/>
                </a:xfrm>
                <a:custGeom>
                  <a:avLst/>
                  <a:gdLst>
                    <a:gd name="connsiteX0" fmla="*/ 866222 w 866221"/>
                    <a:gd name="connsiteY0" fmla="*/ 232161 h 266364"/>
                    <a:gd name="connsiteX1" fmla="*/ 866222 w 866221"/>
                    <a:gd name="connsiteY1" fmla="*/ 0 h 266364"/>
                    <a:gd name="connsiteX2" fmla="*/ 0 w 866221"/>
                    <a:gd name="connsiteY2" fmla="*/ 25012 h 266364"/>
                    <a:gd name="connsiteX3" fmla="*/ 0 w 866221"/>
                    <a:gd name="connsiteY3" fmla="*/ 266365 h 266364"/>
                  </a:gdLst>
                  <a:ahLst/>
                  <a:cxnLst>
                    <a:cxn ang="0">
                      <a:pos x="connsiteX0" y="connsiteY0"/>
                    </a:cxn>
                    <a:cxn ang="0">
                      <a:pos x="connsiteX1" y="connsiteY1"/>
                    </a:cxn>
                    <a:cxn ang="0">
                      <a:pos x="connsiteX2" y="connsiteY2"/>
                    </a:cxn>
                    <a:cxn ang="0">
                      <a:pos x="connsiteX3" y="connsiteY3"/>
                    </a:cxn>
                  </a:cxnLst>
                  <a:rect l="l" t="t" r="r" b="b"/>
                  <a:pathLst>
                    <a:path w="866221" h="266364">
                      <a:moveTo>
                        <a:pt x="866222" y="232161"/>
                      </a:moveTo>
                      <a:lnTo>
                        <a:pt x="866222" y="0"/>
                      </a:lnTo>
                      <a:lnTo>
                        <a:pt x="0" y="25012"/>
                      </a:lnTo>
                      <a:lnTo>
                        <a:pt x="0" y="266365"/>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7" name="Graphic 2">
                  <a:extLst>
                    <a:ext uri="{FF2B5EF4-FFF2-40B4-BE49-F238E27FC236}">
                      <a16:creationId xmlns:a16="http://schemas.microsoft.com/office/drawing/2014/main" id="{3E48357F-2BB8-42E5-8114-7E972FCC0F24}"/>
                    </a:ext>
                  </a:extLst>
                </p:cNvPr>
                <p:cNvSpPr/>
                <p:nvPr/>
              </p:nvSpPr>
              <p:spPr>
                <a:xfrm>
                  <a:off x="5389519" y="5646770"/>
                  <a:ext cx="45124" cy="33562"/>
                </a:xfrm>
                <a:custGeom>
                  <a:avLst/>
                  <a:gdLst>
                    <a:gd name="connsiteX0" fmla="*/ 0 w 437172"/>
                    <a:gd name="connsiteY0" fmla="*/ 18598 h 325153"/>
                    <a:gd name="connsiteX1" fmla="*/ 435890 w 437172"/>
                    <a:gd name="connsiteY1" fmla="*/ 0 h 325153"/>
                    <a:gd name="connsiteX2" fmla="*/ 437173 w 437172"/>
                    <a:gd name="connsiteY2" fmla="*/ 299714 h 325153"/>
                    <a:gd name="connsiteX3" fmla="*/ 0 w 437172"/>
                    <a:gd name="connsiteY3" fmla="*/ 325153 h 325153"/>
                  </a:gdLst>
                  <a:ahLst/>
                  <a:cxnLst>
                    <a:cxn ang="0">
                      <a:pos x="connsiteX0" y="connsiteY0"/>
                    </a:cxn>
                    <a:cxn ang="0">
                      <a:pos x="connsiteX1" y="connsiteY1"/>
                    </a:cxn>
                    <a:cxn ang="0">
                      <a:pos x="connsiteX2" y="connsiteY2"/>
                    </a:cxn>
                    <a:cxn ang="0">
                      <a:pos x="connsiteX3" y="connsiteY3"/>
                    </a:cxn>
                  </a:cxnLst>
                  <a:rect l="l" t="t" r="r" b="b"/>
                  <a:pathLst>
                    <a:path w="437172" h="325153">
                      <a:moveTo>
                        <a:pt x="0" y="18598"/>
                      </a:moveTo>
                      <a:lnTo>
                        <a:pt x="435890" y="0"/>
                      </a:lnTo>
                      <a:lnTo>
                        <a:pt x="437173" y="299714"/>
                      </a:lnTo>
                      <a:lnTo>
                        <a:pt x="0" y="325153"/>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8" name="Graphic 2">
                  <a:extLst>
                    <a:ext uri="{FF2B5EF4-FFF2-40B4-BE49-F238E27FC236}">
                      <a16:creationId xmlns:a16="http://schemas.microsoft.com/office/drawing/2014/main" id="{E8F3F31B-7CB6-424D-914C-55A3FC52CDF1}"/>
                    </a:ext>
                  </a:extLst>
                </p:cNvPr>
                <p:cNvSpPr/>
                <p:nvPr/>
              </p:nvSpPr>
              <p:spPr>
                <a:xfrm>
                  <a:off x="5161514" y="5657560"/>
                  <a:ext cx="20896" cy="36100"/>
                </a:xfrm>
                <a:custGeom>
                  <a:avLst/>
                  <a:gdLst>
                    <a:gd name="connsiteX0" fmla="*/ 202446 w 202446"/>
                    <a:gd name="connsiteY0" fmla="*/ 0 h 349738"/>
                    <a:gd name="connsiteX1" fmla="*/ 0 w 202446"/>
                    <a:gd name="connsiteY1" fmla="*/ 8551 h 349738"/>
                    <a:gd name="connsiteX2" fmla="*/ 0 w 202446"/>
                    <a:gd name="connsiteY2" fmla="*/ 349738 h 349738"/>
                    <a:gd name="connsiteX3" fmla="*/ 202446 w 202446"/>
                    <a:gd name="connsiteY3" fmla="*/ 337981 h 349738"/>
                  </a:gdLst>
                  <a:ahLst/>
                  <a:cxnLst>
                    <a:cxn ang="0">
                      <a:pos x="connsiteX0" y="connsiteY0"/>
                    </a:cxn>
                    <a:cxn ang="0">
                      <a:pos x="connsiteX1" y="connsiteY1"/>
                    </a:cxn>
                    <a:cxn ang="0">
                      <a:pos x="connsiteX2" y="connsiteY2"/>
                    </a:cxn>
                    <a:cxn ang="0">
                      <a:pos x="connsiteX3" y="connsiteY3"/>
                    </a:cxn>
                  </a:cxnLst>
                  <a:rect l="l" t="t" r="r" b="b"/>
                  <a:pathLst>
                    <a:path w="202446" h="349738">
                      <a:moveTo>
                        <a:pt x="202446" y="0"/>
                      </a:moveTo>
                      <a:lnTo>
                        <a:pt x="0" y="8551"/>
                      </a:lnTo>
                      <a:lnTo>
                        <a:pt x="0" y="349738"/>
                      </a:lnTo>
                      <a:lnTo>
                        <a:pt x="202446" y="337981"/>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69" name="Graphic 2">
                  <a:extLst>
                    <a:ext uri="{FF2B5EF4-FFF2-40B4-BE49-F238E27FC236}">
                      <a16:creationId xmlns:a16="http://schemas.microsoft.com/office/drawing/2014/main" id="{C7896D4B-C2D6-436C-AA53-9EDCD7D7FFE2}"/>
                    </a:ext>
                  </a:extLst>
                </p:cNvPr>
                <p:cNvSpPr/>
                <p:nvPr/>
              </p:nvSpPr>
              <p:spPr>
                <a:xfrm>
                  <a:off x="5447883" y="5646770"/>
                  <a:ext cx="49317" cy="36409"/>
                </a:xfrm>
                <a:custGeom>
                  <a:avLst/>
                  <a:gdLst>
                    <a:gd name="connsiteX0" fmla="*/ 477790 w 477790"/>
                    <a:gd name="connsiteY0" fmla="*/ 0 h 352730"/>
                    <a:gd name="connsiteX1" fmla="*/ 0 w 477790"/>
                    <a:gd name="connsiteY1" fmla="*/ 26722 h 352730"/>
                    <a:gd name="connsiteX2" fmla="*/ 0 w 477790"/>
                    <a:gd name="connsiteY2" fmla="*/ 352731 h 352730"/>
                    <a:gd name="connsiteX3" fmla="*/ 477790 w 477790"/>
                    <a:gd name="connsiteY3" fmla="*/ 318527 h 352730"/>
                  </a:gdLst>
                  <a:ahLst/>
                  <a:cxnLst>
                    <a:cxn ang="0">
                      <a:pos x="connsiteX0" y="connsiteY0"/>
                    </a:cxn>
                    <a:cxn ang="0">
                      <a:pos x="connsiteX1" y="connsiteY1"/>
                    </a:cxn>
                    <a:cxn ang="0">
                      <a:pos x="connsiteX2" y="connsiteY2"/>
                    </a:cxn>
                    <a:cxn ang="0">
                      <a:pos x="connsiteX3" y="connsiteY3"/>
                    </a:cxn>
                  </a:cxnLst>
                  <a:rect l="l" t="t" r="r" b="b"/>
                  <a:pathLst>
                    <a:path w="477790" h="352730">
                      <a:moveTo>
                        <a:pt x="477790" y="0"/>
                      </a:moveTo>
                      <a:lnTo>
                        <a:pt x="0" y="26722"/>
                      </a:lnTo>
                      <a:lnTo>
                        <a:pt x="0" y="352731"/>
                      </a:lnTo>
                      <a:lnTo>
                        <a:pt x="477790" y="318527"/>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0" name="Graphic 2">
                  <a:extLst>
                    <a:ext uri="{FF2B5EF4-FFF2-40B4-BE49-F238E27FC236}">
                      <a16:creationId xmlns:a16="http://schemas.microsoft.com/office/drawing/2014/main" id="{85EFC744-8B5F-47B3-8230-80444EF2D790}"/>
                    </a:ext>
                  </a:extLst>
                </p:cNvPr>
                <p:cNvSpPr/>
                <p:nvPr/>
              </p:nvSpPr>
              <p:spPr>
                <a:xfrm>
                  <a:off x="5434511" y="5646770"/>
                  <a:ext cx="13372" cy="36409"/>
                </a:xfrm>
                <a:custGeom>
                  <a:avLst/>
                  <a:gdLst>
                    <a:gd name="connsiteX0" fmla="*/ 0 w 129548"/>
                    <a:gd name="connsiteY0" fmla="*/ 0 h 352730"/>
                    <a:gd name="connsiteX1" fmla="*/ 129548 w 129548"/>
                    <a:gd name="connsiteY1" fmla="*/ 26722 h 352730"/>
                    <a:gd name="connsiteX2" fmla="*/ 129548 w 129548"/>
                    <a:gd name="connsiteY2" fmla="*/ 352731 h 352730"/>
                    <a:gd name="connsiteX3" fmla="*/ 1283 w 129548"/>
                    <a:gd name="connsiteY3" fmla="*/ 299714 h 352730"/>
                  </a:gdLst>
                  <a:ahLst/>
                  <a:cxnLst>
                    <a:cxn ang="0">
                      <a:pos x="connsiteX0" y="connsiteY0"/>
                    </a:cxn>
                    <a:cxn ang="0">
                      <a:pos x="connsiteX1" y="connsiteY1"/>
                    </a:cxn>
                    <a:cxn ang="0">
                      <a:pos x="connsiteX2" y="connsiteY2"/>
                    </a:cxn>
                    <a:cxn ang="0">
                      <a:pos x="connsiteX3" y="connsiteY3"/>
                    </a:cxn>
                  </a:cxnLst>
                  <a:rect l="l" t="t" r="r" b="b"/>
                  <a:pathLst>
                    <a:path w="129548" h="352730">
                      <a:moveTo>
                        <a:pt x="0" y="0"/>
                      </a:moveTo>
                      <a:lnTo>
                        <a:pt x="129548" y="26722"/>
                      </a:lnTo>
                      <a:lnTo>
                        <a:pt x="129548" y="352731"/>
                      </a:lnTo>
                      <a:lnTo>
                        <a:pt x="1283" y="29971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1" name="Graphic 2">
                  <a:extLst>
                    <a:ext uri="{FF2B5EF4-FFF2-40B4-BE49-F238E27FC236}">
                      <a16:creationId xmlns:a16="http://schemas.microsoft.com/office/drawing/2014/main" id="{4F6A56FB-8137-4B1A-89A3-1EA99EAB92EA}"/>
                    </a:ext>
                  </a:extLst>
                </p:cNvPr>
                <p:cNvSpPr/>
                <p:nvPr/>
              </p:nvSpPr>
              <p:spPr>
                <a:xfrm>
                  <a:off x="5811239" y="5631456"/>
                  <a:ext cx="40601" cy="31532"/>
                </a:xfrm>
                <a:custGeom>
                  <a:avLst/>
                  <a:gdLst>
                    <a:gd name="connsiteX0" fmla="*/ 393348 w 393348"/>
                    <a:gd name="connsiteY0" fmla="*/ 0 h 305486"/>
                    <a:gd name="connsiteX1" fmla="*/ 0 w 393348"/>
                    <a:gd name="connsiteY1" fmla="*/ 20523 h 305486"/>
                    <a:gd name="connsiteX2" fmla="*/ 0 w 393348"/>
                    <a:gd name="connsiteY2" fmla="*/ 305487 h 305486"/>
                    <a:gd name="connsiteX3" fmla="*/ 393348 w 393348"/>
                    <a:gd name="connsiteY3" fmla="*/ 280688 h 305486"/>
                  </a:gdLst>
                  <a:ahLst/>
                  <a:cxnLst>
                    <a:cxn ang="0">
                      <a:pos x="connsiteX0" y="connsiteY0"/>
                    </a:cxn>
                    <a:cxn ang="0">
                      <a:pos x="connsiteX1" y="connsiteY1"/>
                    </a:cxn>
                    <a:cxn ang="0">
                      <a:pos x="connsiteX2" y="connsiteY2"/>
                    </a:cxn>
                    <a:cxn ang="0">
                      <a:pos x="connsiteX3" y="connsiteY3"/>
                    </a:cxn>
                  </a:cxnLst>
                  <a:rect l="l" t="t" r="r" b="b"/>
                  <a:pathLst>
                    <a:path w="393348" h="305486">
                      <a:moveTo>
                        <a:pt x="393348" y="0"/>
                      </a:moveTo>
                      <a:lnTo>
                        <a:pt x="0" y="20523"/>
                      </a:lnTo>
                      <a:lnTo>
                        <a:pt x="0" y="305487"/>
                      </a:lnTo>
                      <a:lnTo>
                        <a:pt x="393348" y="280688"/>
                      </a:lnTo>
                      <a:close/>
                    </a:path>
                  </a:pathLst>
                </a:custGeom>
                <a:solidFill>
                  <a:srgbClr val="6D6D6D"/>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2" name="Graphic 2">
                  <a:extLst>
                    <a:ext uri="{FF2B5EF4-FFF2-40B4-BE49-F238E27FC236}">
                      <a16:creationId xmlns:a16="http://schemas.microsoft.com/office/drawing/2014/main" id="{155E679E-9982-4E60-A735-7ED0942C9C13}"/>
                    </a:ext>
                  </a:extLst>
                </p:cNvPr>
                <p:cNvSpPr/>
                <p:nvPr/>
              </p:nvSpPr>
              <p:spPr>
                <a:xfrm>
                  <a:off x="5788490" y="5629889"/>
                  <a:ext cx="22750" cy="33099"/>
                </a:xfrm>
                <a:custGeom>
                  <a:avLst/>
                  <a:gdLst>
                    <a:gd name="connsiteX0" fmla="*/ 0 w 220403"/>
                    <a:gd name="connsiteY0" fmla="*/ 0 h 320664"/>
                    <a:gd name="connsiteX1" fmla="*/ 220403 w 220403"/>
                    <a:gd name="connsiteY1" fmla="*/ 35701 h 320664"/>
                    <a:gd name="connsiteX2" fmla="*/ 220403 w 220403"/>
                    <a:gd name="connsiteY2" fmla="*/ 320664 h 320664"/>
                    <a:gd name="connsiteX3" fmla="*/ 0 w 220403"/>
                    <a:gd name="connsiteY3" fmla="*/ 254180 h 320664"/>
                  </a:gdLst>
                  <a:ahLst/>
                  <a:cxnLst>
                    <a:cxn ang="0">
                      <a:pos x="connsiteX0" y="connsiteY0"/>
                    </a:cxn>
                    <a:cxn ang="0">
                      <a:pos x="connsiteX1" y="connsiteY1"/>
                    </a:cxn>
                    <a:cxn ang="0">
                      <a:pos x="connsiteX2" y="connsiteY2"/>
                    </a:cxn>
                    <a:cxn ang="0">
                      <a:pos x="connsiteX3" y="connsiteY3"/>
                    </a:cxn>
                  </a:cxnLst>
                  <a:rect l="l" t="t" r="r" b="b"/>
                  <a:pathLst>
                    <a:path w="220403" h="320664">
                      <a:moveTo>
                        <a:pt x="0" y="0"/>
                      </a:moveTo>
                      <a:lnTo>
                        <a:pt x="220403" y="35701"/>
                      </a:lnTo>
                      <a:lnTo>
                        <a:pt x="220403" y="320664"/>
                      </a:lnTo>
                      <a:lnTo>
                        <a:pt x="0" y="25418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3" name="Graphic 2">
                  <a:extLst>
                    <a:ext uri="{FF2B5EF4-FFF2-40B4-BE49-F238E27FC236}">
                      <a16:creationId xmlns:a16="http://schemas.microsoft.com/office/drawing/2014/main" id="{D1D182F5-C720-48AB-9B9B-095E8667A33C}"/>
                    </a:ext>
                  </a:extLst>
                </p:cNvPr>
                <p:cNvSpPr/>
                <p:nvPr/>
              </p:nvSpPr>
              <p:spPr>
                <a:xfrm>
                  <a:off x="5195451" y="5642467"/>
                  <a:ext cx="88925" cy="26687"/>
                </a:xfrm>
                <a:custGeom>
                  <a:avLst/>
                  <a:gdLst>
                    <a:gd name="connsiteX0" fmla="*/ 861519 w 861518"/>
                    <a:gd name="connsiteY0" fmla="*/ 10689 h 258543"/>
                    <a:gd name="connsiteX1" fmla="*/ 861519 w 861518"/>
                    <a:gd name="connsiteY1" fmla="*/ 215059 h 258543"/>
                    <a:gd name="connsiteX2" fmla="*/ 0 w 861518"/>
                    <a:gd name="connsiteY2" fmla="*/ 250546 h 258543"/>
                    <a:gd name="connsiteX3" fmla="*/ 0 w 861518"/>
                    <a:gd name="connsiteY3" fmla="*/ 0 h 258543"/>
                    <a:gd name="connsiteX4" fmla="*/ 861519 w 861518"/>
                    <a:gd name="connsiteY4" fmla="*/ 10689 h 258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518" h="258543">
                      <a:moveTo>
                        <a:pt x="861519" y="10689"/>
                      </a:moveTo>
                      <a:lnTo>
                        <a:pt x="861519" y="215059"/>
                      </a:lnTo>
                      <a:cubicBezTo>
                        <a:pt x="861519" y="215059"/>
                        <a:pt x="340760" y="280902"/>
                        <a:pt x="0" y="250546"/>
                      </a:cubicBezTo>
                      <a:lnTo>
                        <a:pt x="0" y="0"/>
                      </a:lnTo>
                      <a:cubicBezTo>
                        <a:pt x="163111" y="17957"/>
                        <a:pt x="543847" y="50879"/>
                        <a:pt x="861519" y="10689"/>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4" name="Graphic 2">
                  <a:extLst>
                    <a:ext uri="{FF2B5EF4-FFF2-40B4-BE49-F238E27FC236}">
                      <a16:creationId xmlns:a16="http://schemas.microsoft.com/office/drawing/2014/main" id="{1A1C5F8A-2A8F-46BE-8802-65DB5FF05BB9}"/>
                    </a:ext>
                  </a:extLst>
                </p:cNvPr>
                <p:cNvSpPr/>
                <p:nvPr/>
              </p:nvSpPr>
              <p:spPr>
                <a:xfrm>
                  <a:off x="5296557" y="5637855"/>
                  <a:ext cx="13923" cy="23941"/>
                </a:xfrm>
                <a:custGeom>
                  <a:avLst/>
                  <a:gdLst>
                    <a:gd name="connsiteX0" fmla="*/ 134893 w 134893"/>
                    <a:gd name="connsiteY0" fmla="*/ 0 h 231947"/>
                    <a:gd name="connsiteX1" fmla="*/ 134893 w 134893"/>
                    <a:gd name="connsiteY1" fmla="*/ 187696 h 231947"/>
                    <a:gd name="connsiteX2" fmla="*/ 0 w 134893"/>
                    <a:gd name="connsiteY2" fmla="*/ 231947 h 231947"/>
                    <a:gd name="connsiteX3" fmla="*/ 0 w 134893"/>
                    <a:gd name="connsiteY3" fmla="*/ 36129 h 231947"/>
                    <a:gd name="connsiteX4" fmla="*/ 134893 w 134893"/>
                    <a:gd name="connsiteY4" fmla="*/ 0 h 2319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93" h="231947">
                      <a:moveTo>
                        <a:pt x="134893" y="0"/>
                      </a:moveTo>
                      <a:lnTo>
                        <a:pt x="134893" y="187696"/>
                      </a:lnTo>
                      <a:cubicBezTo>
                        <a:pt x="134893" y="187696"/>
                        <a:pt x="55154" y="226175"/>
                        <a:pt x="0" y="231947"/>
                      </a:cubicBezTo>
                      <a:lnTo>
                        <a:pt x="0" y="36129"/>
                      </a:lnTo>
                      <a:cubicBezTo>
                        <a:pt x="48100" y="26509"/>
                        <a:pt x="93420" y="14537"/>
                        <a:pt x="134893" y="0"/>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5" name="Graphic 2">
                  <a:extLst>
                    <a:ext uri="{FF2B5EF4-FFF2-40B4-BE49-F238E27FC236}">
                      <a16:creationId xmlns:a16="http://schemas.microsoft.com/office/drawing/2014/main" id="{9980A2B0-7BA7-4900-A13C-CFF12DA0406B}"/>
                    </a:ext>
                  </a:extLst>
                </p:cNvPr>
                <p:cNvSpPr/>
                <p:nvPr/>
              </p:nvSpPr>
              <p:spPr>
                <a:xfrm>
                  <a:off x="5340750" y="5659189"/>
                  <a:ext cx="13843" cy="11677"/>
                </a:xfrm>
                <a:custGeom>
                  <a:avLst/>
                  <a:gdLst>
                    <a:gd name="connsiteX0" fmla="*/ 8591 w 134117"/>
                    <a:gd name="connsiteY0" fmla="*/ 113128 h 113127"/>
                    <a:gd name="connsiteX1" fmla="*/ 1964 w 134117"/>
                    <a:gd name="connsiteY1" fmla="*/ 109921 h 113127"/>
                    <a:gd name="connsiteX2" fmla="*/ 3247 w 134117"/>
                    <a:gd name="connsiteY2" fmla="*/ 97949 h 113127"/>
                    <a:gd name="connsiteX3" fmla="*/ 120182 w 134117"/>
                    <a:gd name="connsiteY3" fmla="*/ 1964 h 113127"/>
                    <a:gd name="connsiteX4" fmla="*/ 132154 w 134117"/>
                    <a:gd name="connsiteY4" fmla="*/ 3247 h 113127"/>
                    <a:gd name="connsiteX5" fmla="*/ 130871 w 134117"/>
                    <a:gd name="connsiteY5" fmla="*/ 15218 h 113127"/>
                    <a:gd name="connsiteX6" fmla="*/ 13936 w 134117"/>
                    <a:gd name="connsiteY6" fmla="*/ 111204 h 113127"/>
                    <a:gd name="connsiteX7" fmla="*/ 8591 w 134117"/>
                    <a:gd name="connsiteY7" fmla="*/ 113128 h 11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17" h="113127">
                      <a:moveTo>
                        <a:pt x="8591" y="113128"/>
                      </a:moveTo>
                      <a:cubicBezTo>
                        <a:pt x="6026" y="113128"/>
                        <a:pt x="3674" y="112059"/>
                        <a:pt x="1964" y="109921"/>
                      </a:cubicBezTo>
                      <a:cubicBezTo>
                        <a:pt x="-1029" y="106287"/>
                        <a:pt x="-601" y="100942"/>
                        <a:pt x="3247" y="97949"/>
                      </a:cubicBezTo>
                      <a:lnTo>
                        <a:pt x="120182" y="1964"/>
                      </a:lnTo>
                      <a:cubicBezTo>
                        <a:pt x="123817" y="-1029"/>
                        <a:pt x="129161" y="-601"/>
                        <a:pt x="132154" y="3247"/>
                      </a:cubicBezTo>
                      <a:cubicBezTo>
                        <a:pt x="135147" y="6881"/>
                        <a:pt x="134719" y="12225"/>
                        <a:pt x="130871" y="15218"/>
                      </a:cubicBezTo>
                      <a:lnTo>
                        <a:pt x="13936" y="111204"/>
                      </a:lnTo>
                      <a:cubicBezTo>
                        <a:pt x="12225" y="112486"/>
                        <a:pt x="10515" y="113128"/>
                        <a:pt x="8591" y="11312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6" name="Graphic 2">
                  <a:extLst>
                    <a:ext uri="{FF2B5EF4-FFF2-40B4-BE49-F238E27FC236}">
                      <a16:creationId xmlns:a16="http://schemas.microsoft.com/office/drawing/2014/main" id="{A81EA334-3B55-4AD0-8D4C-4196246406F0}"/>
                    </a:ext>
                  </a:extLst>
                </p:cNvPr>
                <p:cNvSpPr/>
                <p:nvPr/>
              </p:nvSpPr>
              <p:spPr>
                <a:xfrm>
                  <a:off x="5325348" y="5651642"/>
                  <a:ext cx="13843" cy="11677"/>
                </a:xfrm>
                <a:custGeom>
                  <a:avLst/>
                  <a:gdLst>
                    <a:gd name="connsiteX0" fmla="*/ 8591 w 134117"/>
                    <a:gd name="connsiteY0" fmla="*/ 113128 h 113127"/>
                    <a:gd name="connsiteX1" fmla="*/ 1964 w 134117"/>
                    <a:gd name="connsiteY1" fmla="*/ 109921 h 113127"/>
                    <a:gd name="connsiteX2" fmla="*/ 3247 w 134117"/>
                    <a:gd name="connsiteY2" fmla="*/ 97950 h 113127"/>
                    <a:gd name="connsiteX3" fmla="*/ 120182 w 134117"/>
                    <a:gd name="connsiteY3" fmla="*/ 1964 h 113127"/>
                    <a:gd name="connsiteX4" fmla="*/ 132154 w 134117"/>
                    <a:gd name="connsiteY4" fmla="*/ 3247 h 113127"/>
                    <a:gd name="connsiteX5" fmla="*/ 130871 w 134117"/>
                    <a:gd name="connsiteY5" fmla="*/ 15218 h 113127"/>
                    <a:gd name="connsiteX6" fmla="*/ 13935 w 134117"/>
                    <a:gd name="connsiteY6" fmla="*/ 111204 h 113127"/>
                    <a:gd name="connsiteX7" fmla="*/ 8591 w 134117"/>
                    <a:gd name="connsiteY7" fmla="*/ 113128 h 11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17" h="113127">
                      <a:moveTo>
                        <a:pt x="8591" y="113128"/>
                      </a:moveTo>
                      <a:cubicBezTo>
                        <a:pt x="6026" y="113128"/>
                        <a:pt x="3674" y="112059"/>
                        <a:pt x="1964" y="109921"/>
                      </a:cubicBezTo>
                      <a:cubicBezTo>
                        <a:pt x="-1029" y="106287"/>
                        <a:pt x="-601" y="100943"/>
                        <a:pt x="3247" y="97950"/>
                      </a:cubicBezTo>
                      <a:lnTo>
                        <a:pt x="120182" y="1964"/>
                      </a:lnTo>
                      <a:cubicBezTo>
                        <a:pt x="123817" y="-1029"/>
                        <a:pt x="129161" y="-601"/>
                        <a:pt x="132154" y="3247"/>
                      </a:cubicBezTo>
                      <a:cubicBezTo>
                        <a:pt x="135147" y="6881"/>
                        <a:pt x="134719" y="12226"/>
                        <a:pt x="130871" y="15218"/>
                      </a:cubicBezTo>
                      <a:lnTo>
                        <a:pt x="13935" y="111204"/>
                      </a:lnTo>
                      <a:cubicBezTo>
                        <a:pt x="12439" y="112486"/>
                        <a:pt x="10515" y="113128"/>
                        <a:pt x="8591" y="11312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7" name="Graphic 2">
                  <a:extLst>
                    <a:ext uri="{FF2B5EF4-FFF2-40B4-BE49-F238E27FC236}">
                      <a16:creationId xmlns:a16="http://schemas.microsoft.com/office/drawing/2014/main" id="{1FD2E0FF-0D82-43EC-9F1F-9FE08BEDB643}"/>
                    </a:ext>
                  </a:extLst>
                </p:cNvPr>
                <p:cNvSpPr/>
                <p:nvPr/>
              </p:nvSpPr>
              <p:spPr>
                <a:xfrm>
                  <a:off x="5355953" y="5658173"/>
                  <a:ext cx="13843" cy="11677"/>
                </a:xfrm>
                <a:custGeom>
                  <a:avLst/>
                  <a:gdLst>
                    <a:gd name="connsiteX0" fmla="*/ 125527 w 134117"/>
                    <a:gd name="connsiteY0" fmla="*/ 113128 h 113127"/>
                    <a:gd name="connsiteX1" fmla="*/ 132154 w 134117"/>
                    <a:gd name="connsiteY1" fmla="*/ 109921 h 113127"/>
                    <a:gd name="connsiteX2" fmla="*/ 130871 w 134117"/>
                    <a:gd name="connsiteY2" fmla="*/ 97950 h 113127"/>
                    <a:gd name="connsiteX3" fmla="*/ 13936 w 134117"/>
                    <a:gd name="connsiteY3" fmla="*/ 1964 h 113127"/>
                    <a:gd name="connsiteX4" fmla="*/ 1964 w 134117"/>
                    <a:gd name="connsiteY4" fmla="*/ 3247 h 113127"/>
                    <a:gd name="connsiteX5" fmla="*/ 3247 w 134117"/>
                    <a:gd name="connsiteY5" fmla="*/ 15218 h 113127"/>
                    <a:gd name="connsiteX6" fmla="*/ 120182 w 134117"/>
                    <a:gd name="connsiteY6" fmla="*/ 111204 h 113127"/>
                    <a:gd name="connsiteX7" fmla="*/ 125527 w 134117"/>
                    <a:gd name="connsiteY7" fmla="*/ 113128 h 11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17" h="113127">
                      <a:moveTo>
                        <a:pt x="125527" y="113128"/>
                      </a:moveTo>
                      <a:cubicBezTo>
                        <a:pt x="128092" y="113128"/>
                        <a:pt x="130444" y="112059"/>
                        <a:pt x="132154" y="109921"/>
                      </a:cubicBezTo>
                      <a:cubicBezTo>
                        <a:pt x="135147" y="106287"/>
                        <a:pt x="134719" y="100942"/>
                        <a:pt x="130871" y="97950"/>
                      </a:cubicBezTo>
                      <a:lnTo>
                        <a:pt x="13936" y="1964"/>
                      </a:lnTo>
                      <a:cubicBezTo>
                        <a:pt x="10301" y="-1029"/>
                        <a:pt x="4957" y="-601"/>
                        <a:pt x="1964" y="3247"/>
                      </a:cubicBezTo>
                      <a:cubicBezTo>
                        <a:pt x="-1029" y="6881"/>
                        <a:pt x="-601" y="12225"/>
                        <a:pt x="3247" y="15218"/>
                      </a:cubicBezTo>
                      <a:lnTo>
                        <a:pt x="120182" y="111204"/>
                      </a:lnTo>
                      <a:cubicBezTo>
                        <a:pt x="121679" y="112487"/>
                        <a:pt x="123603" y="113128"/>
                        <a:pt x="125527" y="11312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8" name="Graphic 2">
                  <a:extLst>
                    <a:ext uri="{FF2B5EF4-FFF2-40B4-BE49-F238E27FC236}">
                      <a16:creationId xmlns:a16="http://schemas.microsoft.com/office/drawing/2014/main" id="{ED692644-696E-45B5-A9D8-ACE507A2CBB4}"/>
                    </a:ext>
                  </a:extLst>
                </p:cNvPr>
                <p:cNvSpPr/>
                <p:nvPr/>
              </p:nvSpPr>
              <p:spPr>
                <a:xfrm>
                  <a:off x="5322150" y="5619306"/>
                  <a:ext cx="52759" cy="41863"/>
                </a:xfrm>
                <a:custGeom>
                  <a:avLst/>
                  <a:gdLst>
                    <a:gd name="connsiteX0" fmla="*/ 482735 w 511139"/>
                    <a:gd name="connsiteY0" fmla="*/ 289589 h 405572"/>
                    <a:gd name="connsiteX1" fmla="*/ 459861 w 511139"/>
                    <a:gd name="connsiteY1" fmla="*/ 389422 h 405572"/>
                    <a:gd name="connsiteX2" fmla="*/ 194778 w 511139"/>
                    <a:gd name="connsiteY2" fmla="*/ 402676 h 405572"/>
                    <a:gd name="connsiteX3" fmla="*/ 13282 w 511139"/>
                    <a:gd name="connsiteY3" fmla="*/ 307760 h 405572"/>
                    <a:gd name="connsiteX4" fmla="*/ 6655 w 511139"/>
                    <a:gd name="connsiteY4" fmla="*/ 230159 h 405572"/>
                    <a:gd name="connsiteX5" fmla="*/ 9862 w 511139"/>
                    <a:gd name="connsiteY5" fmla="*/ 224387 h 405572"/>
                    <a:gd name="connsiteX6" fmla="*/ 197557 w 511139"/>
                    <a:gd name="connsiteY6" fmla="*/ 207926 h 405572"/>
                    <a:gd name="connsiteX7" fmla="*/ 210812 w 511139"/>
                    <a:gd name="connsiteY7" fmla="*/ 48235 h 405572"/>
                    <a:gd name="connsiteX8" fmla="*/ 219363 w 511139"/>
                    <a:gd name="connsiteY8" fmla="*/ 16810 h 405572"/>
                    <a:gd name="connsiteX9" fmla="*/ 507319 w 511139"/>
                    <a:gd name="connsiteY9" fmla="*/ 108948 h 405572"/>
                    <a:gd name="connsiteX10" fmla="*/ 482735 w 511139"/>
                    <a:gd name="connsiteY10" fmla="*/ 289589 h 405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39" h="405572">
                      <a:moveTo>
                        <a:pt x="482735" y="289589"/>
                      </a:moveTo>
                      <a:cubicBezTo>
                        <a:pt x="482735" y="289589"/>
                        <a:pt x="469481" y="379802"/>
                        <a:pt x="459861" y="389422"/>
                      </a:cubicBezTo>
                      <a:cubicBezTo>
                        <a:pt x="450455" y="399042"/>
                        <a:pt x="243306" y="411227"/>
                        <a:pt x="194778" y="402676"/>
                      </a:cubicBezTo>
                      <a:cubicBezTo>
                        <a:pt x="146251" y="394125"/>
                        <a:pt x="13282" y="307760"/>
                        <a:pt x="13282" y="307760"/>
                      </a:cubicBezTo>
                      <a:cubicBezTo>
                        <a:pt x="13282" y="307760"/>
                        <a:pt x="-11516" y="276335"/>
                        <a:pt x="6655" y="230159"/>
                      </a:cubicBezTo>
                      <a:cubicBezTo>
                        <a:pt x="7510" y="228021"/>
                        <a:pt x="8579" y="226097"/>
                        <a:pt x="9862" y="224387"/>
                      </a:cubicBezTo>
                      <a:cubicBezTo>
                        <a:pt x="39577" y="185907"/>
                        <a:pt x="197557" y="207926"/>
                        <a:pt x="197557" y="207926"/>
                      </a:cubicBezTo>
                      <a:cubicBezTo>
                        <a:pt x="197557" y="207926"/>
                        <a:pt x="206108" y="76881"/>
                        <a:pt x="210812" y="48235"/>
                      </a:cubicBezTo>
                      <a:cubicBezTo>
                        <a:pt x="215515" y="19803"/>
                        <a:pt x="219363" y="16810"/>
                        <a:pt x="219363" y="16810"/>
                      </a:cubicBezTo>
                      <a:cubicBezTo>
                        <a:pt x="367510" y="-42192"/>
                        <a:pt x="491072" y="70041"/>
                        <a:pt x="507319" y="108948"/>
                      </a:cubicBezTo>
                      <a:cubicBezTo>
                        <a:pt x="523566" y="148069"/>
                        <a:pt x="482735" y="289589"/>
                        <a:pt x="482735" y="289589"/>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79" name="Graphic 2">
                  <a:extLst>
                    <a:ext uri="{FF2B5EF4-FFF2-40B4-BE49-F238E27FC236}">
                      <a16:creationId xmlns:a16="http://schemas.microsoft.com/office/drawing/2014/main" id="{436330B0-943E-4BEA-BA09-A9E5ED7B7820}"/>
                    </a:ext>
                  </a:extLst>
                </p:cNvPr>
                <p:cNvSpPr/>
                <p:nvPr/>
              </p:nvSpPr>
              <p:spPr>
                <a:xfrm>
                  <a:off x="5323168" y="5620917"/>
                  <a:ext cx="45240" cy="32485"/>
                </a:xfrm>
                <a:custGeom>
                  <a:avLst/>
                  <a:gdLst>
                    <a:gd name="connsiteX0" fmla="*/ 417291 w 438291"/>
                    <a:gd name="connsiteY0" fmla="*/ 277612 h 314720"/>
                    <a:gd name="connsiteX1" fmla="*/ 383942 w 438291"/>
                    <a:gd name="connsiteY1" fmla="*/ 307114 h 314720"/>
                    <a:gd name="connsiteX2" fmla="*/ 203942 w 438291"/>
                    <a:gd name="connsiteY2" fmla="*/ 313099 h 314720"/>
                    <a:gd name="connsiteX3" fmla="*/ 0 w 438291"/>
                    <a:gd name="connsiteY3" fmla="*/ 208776 h 314720"/>
                    <a:gd name="connsiteX4" fmla="*/ 187695 w 438291"/>
                    <a:gd name="connsiteY4" fmla="*/ 192316 h 314720"/>
                    <a:gd name="connsiteX5" fmla="*/ 200950 w 438291"/>
                    <a:gd name="connsiteY5" fmla="*/ 32624 h 314720"/>
                    <a:gd name="connsiteX6" fmla="*/ 209501 w 438291"/>
                    <a:gd name="connsiteY6" fmla="*/ 1199 h 314720"/>
                    <a:gd name="connsiteX7" fmla="*/ 427980 w 438291"/>
                    <a:gd name="connsiteY7" fmla="*/ 86710 h 314720"/>
                    <a:gd name="connsiteX8" fmla="*/ 417291 w 438291"/>
                    <a:gd name="connsiteY8" fmla="*/ 277612 h 31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291" h="314720">
                      <a:moveTo>
                        <a:pt x="417291" y="277612"/>
                      </a:moveTo>
                      <a:cubicBezTo>
                        <a:pt x="413871" y="293646"/>
                        <a:pt x="400403" y="305617"/>
                        <a:pt x="383942" y="307114"/>
                      </a:cubicBezTo>
                      <a:cubicBezTo>
                        <a:pt x="339690" y="311175"/>
                        <a:pt x="252256" y="317802"/>
                        <a:pt x="203942" y="313099"/>
                      </a:cubicBezTo>
                      <a:cubicBezTo>
                        <a:pt x="147719" y="307541"/>
                        <a:pt x="34204" y="232078"/>
                        <a:pt x="0" y="208776"/>
                      </a:cubicBezTo>
                      <a:cubicBezTo>
                        <a:pt x="29715" y="170297"/>
                        <a:pt x="187695" y="192316"/>
                        <a:pt x="187695" y="192316"/>
                      </a:cubicBezTo>
                      <a:cubicBezTo>
                        <a:pt x="187695" y="192316"/>
                        <a:pt x="196247" y="61271"/>
                        <a:pt x="200950" y="32624"/>
                      </a:cubicBezTo>
                      <a:cubicBezTo>
                        <a:pt x="205653" y="4193"/>
                        <a:pt x="209501" y="1199"/>
                        <a:pt x="209501" y="1199"/>
                      </a:cubicBezTo>
                      <a:cubicBezTo>
                        <a:pt x="283681" y="-10131"/>
                        <a:pt x="397624" y="61912"/>
                        <a:pt x="427980" y="86710"/>
                      </a:cubicBezTo>
                      <a:cubicBezTo>
                        <a:pt x="451496" y="105736"/>
                        <a:pt x="429049" y="223741"/>
                        <a:pt x="417291" y="27761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0" name="Graphic 2">
                  <a:extLst>
                    <a:ext uri="{FF2B5EF4-FFF2-40B4-BE49-F238E27FC236}">
                      <a16:creationId xmlns:a16="http://schemas.microsoft.com/office/drawing/2014/main" id="{CFCB71FD-9AAD-48AB-BF69-529A79D98C2F}"/>
                    </a:ext>
                  </a:extLst>
                </p:cNvPr>
                <p:cNvSpPr/>
                <p:nvPr/>
              </p:nvSpPr>
              <p:spPr>
                <a:xfrm>
                  <a:off x="5236891" y="5580329"/>
                  <a:ext cx="10614" cy="11695"/>
                </a:xfrm>
                <a:custGeom>
                  <a:avLst/>
                  <a:gdLst>
                    <a:gd name="connsiteX0" fmla="*/ 21591 w 102826"/>
                    <a:gd name="connsiteY0" fmla="*/ 113301 h 113301"/>
                    <a:gd name="connsiteX1" fmla="*/ 0 w 102826"/>
                    <a:gd name="connsiteY1" fmla="*/ 98979 h 113301"/>
                    <a:gd name="connsiteX2" fmla="*/ 0 w 102826"/>
                    <a:gd name="connsiteY2" fmla="*/ 72684 h 113301"/>
                    <a:gd name="connsiteX3" fmla="*/ 102826 w 102826"/>
                    <a:gd name="connsiteY3" fmla="*/ 0 h 113301"/>
                    <a:gd name="connsiteX4" fmla="*/ 62850 w 102826"/>
                    <a:gd name="connsiteY4" fmla="*/ 63919 h 113301"/>
                    <a:gd name="connsiteX5" fmla="*/ 21591 w 102826"/>
                    <a:gd name="connsiteY5" fmla="*/ 113301 h 11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26" h="113301">
                      <a:moveTo>
                        <a:pt x="21591" y="113301"/>
                      </a:moveTo>
                      <a:lnTo>
                        <a:pt x="0" y="98979"/>
                      </a:lnTo>
                      <a:lnTo>
                        <a:pt x="0" y="72684"/>
                      </a:lnTo>
                      <a:cubicBezTo>
                        <a:pt x="0" y="72684"/>
                        <a:pt x="39549" y="17744"/>
                        <a:pt x="102826" y="0"/>
                      </a:cubicBezTo>
                      <a:cubicBezTo>
                        <a:pt x="102826" y="0"/>
                        <a:pt x="78028" y="50665"/>
                        <a:pt x="62850" y="63919"/>
                      </a:cubicBezTo>
                      <a:cubicBezTo>
                        <a:pt x="47672" y="77173"/>
                        <a:pt x="21591" y="113301"/>
                        <a:pt x="21591" y="113301"/>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1" name="Graphic 2">
                  <a:extLst>
                    <a:ext uri="{FF2B5EF4-FFF2-40B4-BE49-F238E27FC236}">
                      <a16:creationId xmlns:a16="http://schemas.microsoft.com/office/drawing/2014/main" id="{38352EB9-B53D-4CEA-8252-DE09B795C0C5}"/>
                    </a:ext>
                  </a:extLst>
                </p:cNvPr>
                <p:cNvSpPr/>
                <p:nvPr/>
              </p:nvSpPr>
              <p:spPr>
                <a:xfrm>
                  <a:off x="5235964" y="5622321"/>
                  <a:ext cx="7745" cy="1964"/>
                </a:xfrm>
                <a:custGeom>
                  <a:avLst/>
                  <a:gdLst>
                    <a:gd name="connsiteX0" fmla="*/ 0 w 75035"/>
                    <a:gd name="connsiteY0" fmla="*/ 0 h 19026"/>
                    <a:gd name="connsiteX1" fmla="*/ 75035 w 75035"/>
                    <a:gd name="connsiteY1" fmla="*/ 0 h 19026"/>
                    <a:gd name="connsiteX2" fmla="*/ 75035 w 75035"/>
                    <a:gd name="connsiteY2" fmla="*/ 19026 h 19026"/>
                    <a:gd name="connsiteX3" fmla="*/ 0 w 75035"/>
                    <a:gd name="connsiteY3" fmla="*/ 19026 h 19026"/>
                  </a:gdLst>
                  <a:ahLst/>
                  <a:cxnLst>
                    <a:cxn ang="0">
                      <a:pos x="connsiteX0" y="connsiteY0"/>
                    </a:cxn>
                    <a:cxn ang="0">
                      <a:pos x="connsiteX1" y="connsiteY1"/>
                    </a:cxn>
                    <a:cxn ang="0">
                      <a:pos x="connsiteX2" y="connsiteY2"/>
                    </a:cxn>
                    <a:cxn ang="0">
                      <a:pos x="connsiteX3" y="connsiteY3"/>
                    </a:cxn>
                  </a:cxnLst>
                  <a:rect l="l" t="t" r="r" b="b"/>
                  <a:pathLst>
                    <a:path w="75035" h="19026">
                      <a:moveTo>
                        <a:pt x="0" y="0"/>
                      </a:moveTo>
                      <a:lnTo>
                        <a:pt x="75035" y="0"/>
                      </a:lnTo>
                      <a:lnTo>
                        <a:pt x="75035" y="19026"/>
                      </a:lnTo>
                      <a:lnTo>
                        <a:pt x="0" y="19026"/>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2" name="Graphic 2">
                  <a:extLst>
                    <a:ext uri="{FF2B5EF4-FFF2-40B4-BE49-F238E27FC236}">
                      <a16:creationId xmlns:a16="http://schemas.microsoft.com/office/drawing/2014/main" id="{70F89B8D-F226-4478-A5B4-4F21291A73B3}"/>
                    </a:ext>
                  </a:extLst>
                </p:cNvPr>
                <p:cNvSpPr/>
                <p:nvPr/>
              </p:nvSpPr>
              <p:spPr>
                <a:xfrm>
                  <a:off x="5266459" y="5621350"/>
                  <a:ext cx="5362" cy="2935"/>
                </a:xfrm>
                <a:custGeom>
                  <a:avLst/>
                  <a:gdLst>
                    <a:gd name="connsiteX0" fmla="*/ 47458 w 51947"/>
                    <a:gd name="connsiteY0" fmla="*/ 0 h 28431"/>
                    <a:gd name="connsiteX1" fmla="*/ 0 w 51947"/>
                    <a:gd name="connsiteY1" fmla="*/ 0 h 28431"/>
                    <a:gd name="connsiteX2" fmla="*/ 0 w 51947"/>
                    <a:gd name="connsiteY2" fmla="*/ 28432 h 28431"/>
                    <a:gd name="connsiteX3" fmla="*/ 51947 w 51947"/>
                    <a:gd name="connsiteY3" fmla="*/ 28432 h 28431"/>
                  </a:gdLst>
                  <a:ahLst/>
                  <a:cxnLst>
                    <a:cxn ang="0">
                      <a:pos x="connsiteX0" y="connsiteY0"/>
                    </a:cxn>
                    <a:cxn ang="0">
                      <a:pos x="connsiteX1" y="connsiteY1"/>
                    </a:cxn>
                    <a:cxn ang="0">
                      <a:pos x="connsiteX2" y="connsiteY2"/>
                    </a:cxn>
                    <a:cxn ang="0">
                      <a:pos x="connsiteX3" y="connsiteY3"/>
                    </a:cxn>
                  </a:cxnLst>
                  <a:rect l="l" t="t" r="r" b="b"/>
                  <a:pathLst>
                    <a:path w="51947" h="28431">
                      <a:moveTo>
                        <a:pt x="47458" y="0"/>
                      </a:moveTo>
                      <a:lnTo>
                        <a:pt x="0" y="0"/>
                      </a:lnTo>
                      <a:lnTo>
                        <a:pt x="0" y="28432"/>
                      </a:lnTo>
                      <a:lnTo>
                        <a:pt x="51947" y="28432"/>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3" name="Graphic 2">
                  <a:extLst>
                    <a:ext uri="{FF2B5EF4-FFF2-40B4-BE49-F238E27FC236}">
                      <a16:creationId xmlns:a16="http://schemas.microsoft.com/office/drawing/2014/main" id="{D30167E3-C0DB-4262-9144-BD34BC299902}"/>
                    </a:ext>
                  </a:extLst>
                </p:cNvPr>
                <p:cNvSpPr/>
                <p:nvPr/>
              </p:nvSpPr>
              <p:spPr>
                <a:xfrm rot="21506886">
                  <a:off x="5206831" y="5549445"/>
                  <a:ext cx="63150" cy="15093"/>
                </a:xfrm>
                <a:custGeom>
                  <a:avLst/>
                  <a:gdLst>
                    <a:gd name="connsiteX0" fmla="*/ 0 w 611807"/>
                    <a:gd name="connsiteY0" fmla="*/ 0 h 146218"/>
                    <a:gd name="connsiteX1" fmla="*/ 611807 w 611807"/>
                    <a:gd name="connsiteY1" fmla="*/ 0 h 146218"/>
                    <a:gd name="connsiteX2" fmla="*/ 611807 w 611807"/>
                    <a:gd name="connsiteY2" fmla="*/ 146218 h 146218"/>
                    <a:gd name="connsiteX3" fmla="*/ 0 w 611807"/>
                    <a:gd name="connsiteY3" fmla="*/ 146218 h 146218"/>
                  </a:gdLst>
                  <a:ahLst/>
                  <a:cxnLst>
                    <a:cxn ang="0">
                      <a:pos x="connsiteX0" y="connsiteY0"/>
                    </a:cxn>
                    <a:cxn ang="0">
                      <a:pos x="connsiteX1" y="connsiteY1"/>
                    </a:cxn>
                    <a:cxn ang="0">
                      <a:pos x="connsiteX2" y="connsiteY2"/>
                    </a:cxn>
                    <a:cxn ang="0">
                      <a:pos x="connsiteX3" y="connsiteY3"/>
                    </a:cxn>
                  </a:cxnLst>
                  <a:rect l="l" t="t" r="r" b="b"/>
                  <a:pathLst>
                    <a:path w="611807" h="146218">
                      <a:moveTo>
                        <a:pt x="0" y="0"/>
                      </a:moveTo>
                      <a:lnTo>
                        <a:pt x="611807" y="0"/>
                      </a:lnTo>
                      <a:lnTo>
                        <a:pt x="611807" y="146218"/>
                      </a:lnTo>
                      <a:lnTo>
                        <a:pt x="0" y="146218"/>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4" name="Graphic 2">
                  <a:extLst>
                    <a:ext uri="{FF2B5EF4-FFF2-40B4-BE49-F238E27FC236}">
                      <a16:creationId xmlns:a16="http://schemas.microsoft.com/office/drawing/2014/main" id="{EA571286-8CBC-4CCE-AB14-93AFB7377F39}"/>
                    </a:ext>
                  </a:extLst>
                </p:cNvPr>
                <p:cNvSpPr/>
                <p:nvPr/>
              </p:nvSpPr>
              <p:spPr>
                <a:xfrm rot="21556934">
                  <a:off x="5094235" y="5635130"/>
                  <a:ext cx="63151" cy="15093"/>
                </a:xfrm>
                <a:custGeom>
                  <a:avLst/>
                  <a:gdLst>
                    <a:gd name="connsiteX0" fmla="*/ 0 w 611814"/>
                    <a:gd name="connsiteY0" fmla="*/ 0 h 146219"/>
                    <a:gd name="connsiteX1" fmla="*/ 611815 w 611814"/>
                    <a:gd name="connsiteY1" fmla="*/ 0 h 146219"/>
                    <a:gd name="connsiteX2" fmla="*/ 611815 w 611814"/>
                    <a:gd name="connsiteY2" fmla="*/ 146220 h 146219"/>
                    <a:gd name="connsiteX3" fmla="*/ 0 w 611814"/>
                    <a:gd name="connsiteY3" fmla="*/ 146220 h 146219"/>
                  </a:gdLst>
                  <a:ahLst/>
                  <a:cxnLst>
                    <a:cxn ang="0">
                      <a:pos x="connsiteX0" y="connsiteY0"/>
                    </a:cxn>
                    <a:cxn ang="0">
                      <a:pos x="connsiteX1" y="connsiteY1"/>
                    </a:cxn>
                    <a:cxn ang="0">
                      <a:pos x="connsiteX2" y="connsiteY2"/>
                    </a:cxn>
                    <a:cxn ang="0">
                      <a:pos x="connsiteX3" y="connsiteY3"/>
                    </a:cxn>
                  </a:cxnLst>
                  <a:rect l="l" t="t" r="r" b="b"/>
                  <a:pathLst>
                    <a:path w="611814" h="146219">
                      <a:moveTo>
                        <a:pt x="0" y="0"/>
                      </a:moveTo>
                      <a:lnTo>
                        <a:pt x="611815" y="0"/>
                      </a:lnTo>
                      <a:lnTo>
                        <a:pt x="611815" y="146220"/>
                      </a:lnTo>
                      <a:lnTo>
                        <a:pt x="0" y="14622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5" name="Graphic 2">
                  <a:extLst>
                    <a:ext uri="{FF2B5EF4-FFF2-40B4-BE49-F238E27FC236}">
                      <a16:creationId xmlns:a16="http://schemas.microsoft.com/office/drawing/2014/main" id="{E68D9550-CFD2-4AF3-8CFC-66C5270D8FAC}"/>
                    </a:ext>
                  </a:extLst>
                </p:cNvPr>
                <p:cNvSpPr/>
                <p:nvPr/>
              </p:nvSpPr>
              <p:spPr>
                <a:xfrm>
                  <a:off x="5310326" y="5546767"/>
                  <a:ext cx="59467" cy="15292"/>
                </a:xfrm>
                <a:custGeom>
                  <a:avLst/>
                  <a:gdLst>
                    <a:gd name="connsiteX0" fmla="*/ 576127 w 576127"/>
                    <a:gd name="connsiteY0" fmla="*/ 143230 h 148147"/>
                    <a:gd name="connsiteX1" fmla="*/ 4062 w 576127"/>
                    <a:gd name="connsiteY1" fmla="*/ 148147 h 148147"/>
                    <a:gd name="connsiteX2" fmla="*/ 0 w 576127"/>
                    <a:gd name="connsiteY2" fmla="*/ 1924 h 148147"/>
                    <a:gd name="connsiteX3" fmla="*/ 576127 w 576127"/>
                    <a:gd name="connsiteY3" fmla="*/ 0 h 148147"/>
                  </a:gdLst>
                  <a:ahLst/>
                  <a:cxnLst>
                    <a:cxn ang="0">
                      <a:pos x="connsiteX0" y="connsiteY0"/>
                    </a:cxn>
                    <a:cxn ang="0">
                      <a:pos x="connsiteX1" y="connsiteY1"/>
                    </a:cxn>
                    <a:cxn ang="0">
                      <a:pos x="connsiteX2" y="connsiteY2"/>
                    </a:cxn>
                    <a:cxn ang="0">
                      <a:pos x="connsiteX3" y="connsiteY3"/>
                    </a:cxn>
                  </a:cxnLst>
                  <a:rect l="l" t="t" r="r" b="b"/>
                  <a:pathLst>
                    <a:path w="576127" h="148147">
                      <a:moveTo>
                        <a:pt x="576127" y="143230"/>
                      </a:moveTo>
                      <a:lnTo>
                        <a:pt x="4062" y="148147"/>
                      </a:lnTo>
                      <a:lnTo>
                        <a:pt x="0" y="1924"/>
                      </a:lnTo>
                      <a:lnTo>
                        <a:pt x="57612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6" name="Graphic 2">
                  <a:extLst>
                    <a:ext uri="{FF2B5EF4-FFF2-40B4-BE49-F238E27FC236}">
                      <a16:creationId xmlns:a16="http://schemas.microsoft.com/office/drawing/2014/main" id="{C7A31E4E-B5C3-45C5-8ABC-0F177A1CB567}"/>
                    </a:ext>
                  </a:extLst>
                </p:cNvPr>
                <p:cNvSpPr/>
                <p:nvPr/>
              </p:nvSpPr>
              <p:spPr>
                <a:xfrm>
                  <a:off x="5103857" y="5183078"/>
                  <a:ext cx="45301" cy="46471"/>
                </a:xfrm>
                <a:custGeom>
                  <a:avLst/>
                  <a:gdLst>
                    <a:gd name="connsiteX0" fmla="*/ 0 w 438882"/>
                    <a:gd name="connsiteY0" fmla="*/ 450213 h 450212"/>
                    <a:gd name="connsiteX1" fmla="*/ 438883 w 438882"/>
                    <a:gd name="connsiteY1" fmla="*/ 159477 h 450212"/>
                    <a:gd name="connsiteX2" fmla="*/ 438883 w 438882"/>
                    <a:gd name="connsiteY2" fmla="*/ 0 h 450212"/>
                    <a:gd name="connsiteX3" fmla="*/ 0 w 438882"/>
                    <a:gd name="connsiteY3" fmla="*/ 328574 h 450212"/>
                  </a:gdLst>
                  <a:ahLst/>
                  <a:cxnLst>
                    <a:cxn ang="0">
                      <a:pos x="connsiteX0" y="connsiteY0"/>
                    </a:cxn>
                    <a:cxn ang="0">
                      <a:pos x="connsiteX1" y="connsiteY1"/>
                    </a:cxn>
                    <a:cxn ang="0">
                      <a:pos x="connsiteX2" y="connsiteY2"/>
                    </a:cxn>
                    <a:cxn ang="0">
                      <a:pos x="connsiteX3" y="connsiteY3"/>
                    </a:cxn>
                  </a:cxnLst>
                  <a:rect l="l" t="t" r="r" b="b"/>
                  <a:pathLst>
                    <a:path w="438882" h="450212">
                      <a:moveTo>
                        <a:pt x="0" y="450213"/>
                      </a:moveTo>
                      <a:lnTo>
                        <a:pt x="438883" y="159477"/>
                      </a:lnTo>
                      <a:lnTo>
                        <a:pt x="438883" y="0"/>
                      </a:lnTo>
                      <a:lnTo>
                        <a:pt x="0" y="32857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7" name="Graphic 2">
                  <a:extLst>
                    <a:ext uri="{FF2B5EF4-FFF2-40B4-BE49-F238E27FC236}">
                      <a16:creationId xmlns:a16="http://schemas.microsoft.com/office/drawing/2014/main" id="{D9F21EF6-92C6-4E94-8AC8-1300ABB84691}"/>
                    </a:ext>
                  </a:extLst>
                </p:cNvPr>
                <p:cNvSpPr/>
                <p:nvPr/>
              </p:nvSpPr>
              <p:spPr>
                <a:xfrm>
                  <a:off x="5149158" y="5183078"/>
                  <a:ext cx="281867" cy="27053"/>
                </a:xfrm>
                <a:custGeom>
                  <a:avLst/>
                  <a:gdLst>
                    <a:gd name="connsiteX0" fmla="*/ 2730779 w 2730778"/>
                    <a:gd name="connsiteY0" fmla="*/ 262090 h 262089"/>
                    <a:gd name="connsiteX1" fmla="*/ 0 w 2730778"/>
                    <a:gd name="connsiteY1" fmla="*/ 159477 h 262089"/>
                    <a:gd name="connsiteX2" fmla="*/ 0 w 2730778"/>
                    <a:gd name="connsiteY2" fmla="*/ 0 h 262089"/>
                    <a:gd name="connsiteX3" fmla="*/ 2730779 w 2730778"/>
                    <a:gd name="connsiteY3" fmla="*/ 121639 h 262089"/>
                  </a:gdLst>
                  <a:ahLst/>
                  <a:cxnLst>
                    <a:cxn ang="0">
                      <a:pos x="connsiteX0" y="connsiteY0"/>
                    </a:cxn>
                    <a:cxn ang="0">
                      <a:pos x="connsiteX1" y="connsiteY1"/>
                    </a:cxn>
                    <a:cxn ang="0">
                      <a:pos x="connsiteX2" y="connsiteY2"/>
                    </a:cxn>
                    <a:cxn ang="0">
                      <a:pos x="connsiteX3" y="connsiteY3"/>
                    </a:cxn>
                  </a:cxnLst>
                  <a:rect l="l" t="t" r="r" b="b"/>
                  <a:pathLst>
                    <a:path w="2730778" h="262089">
                      <a:moveTo>
                        <a:pt x="2730779" y="262090"/>
                      </a:moveTo>
                      <a:lnTo>
                        <a:pt x="0" y="159477"/>
                      </a:lnTo>
                      <a:lnTo>
                        <a:pt x="0" y="0"/>
                      </a:lnTo>
                      <a:lnTo>
                        <a:pt x="2730779" y="121639"/>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8" name="Graphic 2">
                  <a:extLst>
                    <a:ext uri="{FF2B5EF4-FFF2-40B4-BE49-F238E27FC236}">
                      <a16:creationId xmlns:a16="http://schemas.microsoft.com/office/drawing/2014/main" id="{D31809EE-A0B4-4BAE-8F55-9766FE37DEE3}"/>
                    </a:ext>
                  </a:extLst>
                </p:cNvPr>
                <p:cNvSpPr/>
                <p:nvPr/>
              </p:nvSpPr>
              <p:spPr>
                <a:xfrm>
                  <a:off x="5103857" y="5199539"/>
                  <a:ext cx="45301" cy="56908"/>
                </a:xfrm>
                <a:custGeom>
                  <a:avLst/>
                  <a:gdLst>
                    <a:gd name="connsiteX0" fmla="*/ 0 w 438882"/>
                    <a:gd name="connsiteY0" fmla="*/ 290736 h 551329"/>
                    <a:gd name="connsiteX1" fmla="*/ 435676 w 438882"/>
                    <a:gd name="connsiteY1" fmla="*/ 2352 h 551329"/>
                    <a:gd name="connsiteX2" fmla="*/ 438883 w 438882"/>
                    <a:gd name="connsiteY2" fmla="*/ 0 h 551329"/>
                    <a:gd name="connsiteX3" fmla="*/ 428622 w 438882"/>
                    <a:gd name="connsiteY3" fmla="*/ 336270 h 551329"/>
                    <a:gd name="connsiteX4" fmla="*/ 428622 w 438882"/>
                    <a:gd name="connsiteY4" fmla="*/ 336484 h 551329"/>
                    <a:gd name="connsiteX5" fmla="*/ 0 w 438882"/>
                    <a:gd name="connsiteY5" fmla="*/ 551329 h 55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882" h="551329">
                      <a:moveTo>
                        <a:pt x="0" y="290736"/>
                      </a:moveTo>
                      <a:lnTo>
                        <a:pt x="435676" y="2352"/>
                      </a:lnTo>
                      <a:lnTo>
                        <a:pt x="438883" y="0"/>
                      </a:lnTo>
                      <a:lnTo>
                        <a:pt x="428622" y="336270"/>
                      </a:lnTo>
                      <a:lnTo>
                        <a:pt x="428622" y="336484"/>
                      </a:lnTo>
                      <a:lnTo>
                        <a:pt x="0" y="551329"/>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89" name="Graphic 2">
                  <a:extLst>
                    <a:ext uri="{FF2B5EF4-FFF2-40B4-BE49-F238E27FC236}">
                      <a16:creationId xmlns:a16="http://schemas.microsoft.com/office/drawing/2014/main" id="{32FEEE09-4FC2-49EC-AEDA-D24134F67730}"/>
                    </a:ext>
                  </a:extLst>
                </p:cNvPr>
                <p:cNvSpPr/>
                <p:nvPr/>
              </p:nvSpPr>
              <p:spPr>
                <a:xfrm>
                  <a:off x="5148098" y="5199782"/>
                  <a:ext cx="282926" cy="41638"/>
                </a:xfrm>
                <a:custGeom>
                  <a:avLst/>
                  <a:gdLst>
                    <a:gd name="connsiteX0" fmla="*/ 2741040 w 2741039"/>
                    <a:gd name="connsiteY0" fmla="*/ 403396 h 403395"/>
                    <a:gd name="connsiteX1" fmla="*/ 0 w 2741039"/>
                    <a:gd name="connsiteY1" fmla="*/ 333919 h 403395"/>
                    <a:gd name="connsiteX2" fmla="*/ 7055 w 2741039"/>
                    <a:gd name="connsiteY2" fmla="*/ 0 h 403395"/>
                    <a:gd name="connsiteX3" fmla="*/ 2741040 w 2741039"/>
                    <a:gd name="connsiteY3" fmla="*/ 100261 h 403395"/>
                  </a:gdLst>
                  <a:ahLst/>
                  <a:cxnLst>
                    <a:cxn ang="0">
                      <a:pos x="connsiteX0" y="connsiteY0"/>
                    </a:cxn>
                    <a:cxn ang="0">
                      <a:pos x="connsiteX1" y="connsiteY1"/>
                    </a:cxn>
                    <a:cxn ang="0">
                      <a:pos x="connsiteX2" y="connsiteY2"/>
                    </a:cxn>
                    <a:cxn ang="0">
                      <a:pos x="connsiteX3" y="connsiteY3"/>
                    </a:cxn>
                  </a:cxnLst>
                  <a:rect l="l" t="t" r="r" b="b"/>
                  <a:pathLst>
                    <a:path w="2741039" h="403395">
                      <a:moveTo>
                        <a:pt x="2741040" y="403396"/>
                      </a:moveTo>
                      <a:lnTo>
                        <a:pt x="0" y="333919"/>
                      </a:lnTo>
                      <a:lnTo>
                        <a:pt x="7055" y="0"/>
                      </a:lnTo>
                      <a:lnTo>
                        <a:pt x="2741040" y="100261"/>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0" name="Graphic 2">
                  <a:extLst>
                    <a:ext uri="{FF2B5EF4-FFF2-40B4-BE49-F238E27FC236}">
                      <a16:creationId xmlns:a16="http://schemas.microsoft.com/office/drawing/2014/main" id="{053C612A-AEB7-4653-84D9-B763C7C2BEF1}"/>
                    </a:ext>
                  </a:extLst>
                </p:cNvPr>
                <p:cNvSpPr/>
                <p:nvPr/>
              </p:nvSpPr>
              <p:spPr>
                <a:xfrm>
                  <a:off x="5252844" y="5242997"/>
                  <a:ext cx="9715" cy="15127"/>
                </a:xfrm>
                <a:custGeom>
                  <a:avLst/>
                  <a:gdLst>
                    <a:gd name="connsiteX0" fmla="*/ 5772 w 94122"/>
                    <a:gd name="connsiteY0" fmla="*/ 1609 h 146549"/>
                    <a:gd name="connsiteX1" fmla="*/ 42114 w 94122"/>
                    <a:gd name="connsiteY1" fmla="*/ 112 h 146549"/>
                    <a:gd name="connsiteX2" fmla="*/ 82518 w 94122"/>
                    <a:gd name="connsiteY2" fmla="*/ 13794 h 146549"/>
                    <a:gd name="connsiteX3" fmla="*/ 94062 w 94122"/>
                    <a:gd name="connsiteY3" fmla="*/ 44792 h 146549"/>
                    <a:gd name="connsiteX4" fmla="*/ 81663 w 94122"/>
                    <a:gd name="connsiteY4" fmla="*/ 75575 h 146549"/>
                    <a:gd name="connsiteX5" fmla="*/ 36342 w 94122"/>
                    <a:gd name="connsiteY5" fmla="*/ 89898 h 146549"/>
                    <a:gd name="connsiteX6" fmla="*/ 21164 w 94122"/>
                    <a:gd name="connsiteY6" fmla="*/ 87974 h 146549"/>
                    <a:gd name="connsiteX7" fmla="*/ 18812 w 94122"/>
                    <a:gd name="connsiteY7" fmla="*/ 146549 h 146549"/>
                    <a:gd name="connsiteX8" fmla="*/ 0 w 94122"/>
                    <a:gd name="connsiteY8" fmla="*/ 145908 h 146549"/>
                    <a:gd name="connsiteX9" fmla="*/ 5772 w 94122"/>
                    <a:gd name="connsiteY9" fmla="*/ 1609 h 146549"/>
                    <a:gd name="connsiteX10" fmla="*/ 22019 w 94122"/>
                    <a:gd name="connsiteY10" fmla="*/ 72796 h 146549"/>
                    <a:gd name="connsiteX11" fmla="*/ 37625 w 94122"/>
                    <a:gd name="connsiteY11" fmla="*/ 74934 h 146549"/>
                    <a:gd name="connsiteX12" fmla="*/ 75463 w 94122"/>
                    <a:gd name="connsiteY12" fmla="*/ 45219 h 146549"/>
                    <a:gd name="connsiteX13" fmla="*/ 42114 w 94122"/>
                    <a:gd name="connsiteY13" fmla="*/ 15291 h 146549"/>
                    <a:gd name="connsiteX14" fmla="*/ 24371 w 94122"/>
                    <a:gd name="connsiteY14" fmla="*/ 16146 h 146549"/>
                    <a:gd name="connsiteX15" fmla="*/ 22019 w 94122"/>
                    <a:gd name="connsiteY15" fmla="*/ 72796 h 14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122" h="146549">
                      <a:moveTo>
                        <a:pt x="5772" y="1609"/>
                      </a:moveTo>
                      <a:cubicBezTo>
                        <a:pt x="14964" y="540"/>
                        <a:pt x="26936" y="-315"/>
                        <a:pt x="42114" y="112"/>
                      </a:cubicBezTo>
                      <a:cubicBezTo>
                        <a:pt x="60713" y="754"/>
                        <a:pt x="74181" y="5671"/>
                        <a:pt x="82518" y="13794"/>
                      </a:cubicBezTo>
                      <a:cubicBezTo>
                        <a:pt x="90214" y="21062"/>
                        <a:pt x="94703" y="31751"/>
                        <a:pt x="94062" y="44792"/>
                      </a:cubicBezTo>
                      <a:cubicBezTo>
                        <a:pt x="93634" y="58046"/>
                        <a:pt x="89145" y="68307"/>
                        <a:pt x="81663" y="75575"/>
                      </a:cubicBezTo>
                      <a:cubicBezTo>
                        <a:pt x="71188" y="85837"/>
                        <a:pt x="54727" y="90540"/>
                        <a:pt x="36342" y="89898"/>
                      </a:cubicBezTo>
                      <a:cubicBezTo>
                        <a:pt x="30784" y="89685"/>
                        <a:pt x="25439" y="89257"/>
                        <a:pt x="21164" y="87974"/>
                      </a:cubicBezTo>
                      <a:lnTo>
                        <a:pt x="18812" y="146549"/>
                      </a:lnTo>
                      <a:lnTo>
                        <a:pt x="0" y="145908"/>
                      </a:lnTo>
                      <a:lnTo>
                        <a:pt x="5772" y="1609"/>
                      </a:lnTo>
                      <a:close/>
                      <a:moveTo>
                        <a:pt x="22019" y="72796"/>
                      </a:moveTo>
                      <a:cubicBezTo>
                        <a:pt x="26081" y="74079"/>
                        <a:pt x="31211" y="74720"/>
                        <a:pt x="37625" y="74934"/>
                      </a:cubicBezTo>
                      <a:cubicBezTo>
                        <a:pt x="60285" y="75789"/>
                        <a:pt x="74608" y="65314"/>
                        <a:pt x="75463" y="45219"/>
                      </a:cubicBezTo>
                      <a:cubicBezTo>
                        <a:pt x="76318" y="25979"/>
                        <a:pt x="62850" y="16146"/>
                        <a:pt x="42114" y="15291"/>
                      </a:cubicBezTo>
                      <a:cubicBezTo>
                        <a:pt x="33777" y="14863"/>
                        <a:pt x="27577" y="15291"/>
                        <a:pt x="24371" y="16146"/>
                      </a:cubicBezTo>
                      <a:lnTo>
                        <a:pt x="22019" y="72796"/>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1" name="Graphic 2">
                  <a:extLst>
                    <a:ext uri="{FF2B5EF4-FFF2-40B4-BE49-F238E27FC236}">
                      <a16:creationId xmlns:a16="http://schemas.microsoft.com/office/drawing/2014/main" id="{E5A2C01E-34B8-4860-906F-3EC1687368C1}"/>
                    </a:ext>
                  </a:extLst>
                </p:cNvPr>
                <p:cNvSpPr/>
                <p:nvPr/>
              </p:nvSpPr>
              <p:spPr>
                <a:xfrm>
                  <a:off x="5264134" y="5243422"/>
                  <a:ext cx="13830" cy="15589"/>
                </a:xfrm>
                <a:custGeom>
                  <a:avLst/>
                  <a:gdLst>
                    <a:gd name="connsiteX0" fmla="*/ 133903 w 133987"/>
                    <a:gd name="connsiteY0" fmla="*/ 76587 h 151027"/>
                    <a:gd name="connsiteX1" fmla="*/ 62929 w 133987"/>
                    <a:gd name="connsiteY1" fmla="*/ 150981 h 151027"/>
                    <a:gd name="connsiteX2" fmla="*/ 79 w 133987"/>
                    <a:gd name="connsiteY2" fmla="*/ 74235 h 151027"/>
                    <a:gd name="connsiteX3" fmla="*/ 71053 w 133987"/>
                    <a:gd name="connsiteY3" fmla="*/ 55 h 151027"/>
                    <a:gd name="connsiteX4" fmla="*/ 133903 w 133987"/>
                    <a:gd name="connsiteY4" fmla="*/ 76587 h 151027"/>
                    <a:gd name="connsiteX5" fmla="*/ 20388 w 133987"/>
                    <a:gd name="connsiteY5" fmla="*/ 74663 h 151027"/>
                    <a:gd name="connsiteX6" fmla="*/ 64640 w 133987"/>
                    <a:gd name="connsiteY6" fmla="*/ 135589 h 151027"/>
                    <a:gd name="connsiteX7" fmla="*/ 113808 w 133987"/>
                    <a:gd name="connsiteY7" fmla="*/ 76800 h 151027"/>
                    <a:gd name="connsiteX8" fmla="*/ 69557 w 133987"/>
                    <a:gd name="connsiteY8" fmla="*/ 15660 h 151027"/>
                    <a:gd name="connsiteX9" fmla="*/ 20388 w 133987"/>
                    <a:gd name="connsiteY9" fmla="*/ 74663 h 15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987" h="151027">
                      <a:moveTo>
                        <a:pt x="133903" y="76587"/>
                      </a:moveTo>
                      <a:cubicBezTo>
                        <a:pt x="131979" y="126824"/>
                        <a:pt x="100340" y="152263"/>
                        <a:pt x="62929" y="150981"/>
                      </a:cubicBezTo>
                      <a:cubicBezTo>
                        <a:pt x="24450" y="149484"/>
                        <a:pt x="-1631" y="118487"/>
                        <a:pt x="79" y="74235"/>
                      </a:cubicBezTo>
                      <a:cubicBezTo>
                        <a:pt x="2003" y="27846"/>
                        <a:pt x="31932" y="-1442"/>
                        <a:pt x="71053" y="55"/>
                      </a:cubicBezTo>
                      <a:cubicBezTo>
                        <a:pt x="111029" y="1765"/>
                        <a:pt x="135613" y="33404"/>
                        <a:pt x="133903" y="76587"/>
                      </a:cubicBezTo>
                      <a:close/>
                      <a:moveTo>
                        <a:pt x="20388" y="74663"/>
                      </a:moveTo>
                      <a:cubicBezTo>
                        <a:pt x="19105" y="105874"/>
                        <a:pt x="34925" y="134520"/>
                        <a:pt x="64640" y="135589"/>
                      </a:cubicBezTo>
                      <a:cubicBezTo>
                        <a:pt x="94568" y="136872"/>
                        <a:pt x="112526" y="109936"/>
                        <a:pt x="113808" y="76800"/>
                      </a:cubicBezTo>
                      <a:cubicBezTo>
                        <a:pt x="114877" y="47727"/>
                        <a:pt x="100982" y="16729"/>
                        <a:pt x="69557" y="15660"/>
                      </a:cubicBezTo>
                      <a:cubicBezTo>
                        <a:pt x="38559" y="14378"/>
                        <a:pt x="21671" y="42596"/>
                        <a:pt x="20388" y="74663"/>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2" name="Graphic 2">
                  <a:extLst>
                    <a:ext uri="{FF2B5EF4-FFF2-40B4-BE49-F238E27FC236}">
                      <a16:creationId xmlns:a16="http://schemas.microsoft.com/office/drawing/2014/main" id="{6DCA3D22-7658-4CBF-99C7-21F4C285888D}"/>
                    </a:ext>
                  </a:extLst>
                </p:cNvPr>
                <p:cNvSpPr/>
                <p:nvPr/>
              </p:nvSpPr>
              <p:spPr>
                <a:xfrm>
                  <a:off x="5280184" y="5244046"/>
                  <a:ext cx="8451" cy="15380"/>
                </a:xfrm>
                <a:custGeom>
                  <a:avLst/>
                  <a:gdLst>
                    <a:gd name="connsiteX0" fmla="*/ 5772 w 81876"/>
                    <a:gd name="connsiteY0" fmla="*/ 0 h 149002"/>
                    <a:gd name="connsiteX1" fmla="*/ 24584 w 81876"/>
                    <a:gd name="connsiteY1" fmla="*/ 641 h 149002"/>
                    <a:gd name="connsiteX2" fmla="*/ 19454 w 81876"/>
                    <a:gd name="connsiteY2" fmla="*/ 130831 h 149002"/>
                    <a:gd name="connsiteX3" fmla="*/ 81876 w 81876"/>
                    <a:gd name="connsiteY3" fmla="*/ 133183 h 149002"/>
                    <a:gd name="connsiteX4" fmla="*/ 81235 w 81876"/>
                    <a:gd name="connsiteY4" fmla="*/ 149002 h 149002"/>
                    <a:gd name="connsiteX5" fmla="*/ 0 w 81876"/>
                    <a:gd name="connsiteY5" fmla="*/ 145795 h 149002"/>
                    <a:gd name="connsiteX6" fmla="*/ 5772 w 81876"/>
                    <a:gd name="connsiteY6" fmla="*/ 0 h 14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876" h="149002">
                      <a:moveTo>
                        <a:pt x="5772" y="0"/>
                      </a:moveTo>
                      <a:lnTo>
                        <a:pt x="24584" y="641"/>
                      </a:lnTo>
                      <a:lnTo>
                        <a:pt x="19454" y="130831"/>
                      </a:lnTo>
                      <a:lnTo>
                        <a:pt x="81876" y="133183"/>
                      </a:lnTo>
                      <a:lnTo>
                        <a:pt x="81235" y="149002"/>
                      </a:lnTo>
                      <a:lnTo>
                        <a:pt x="0" y="145795"/>
                      </a:lnTo>
                      <a:lnTo>
                        <a:pt x="5772" y="0"/>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3" name="Graphic 2">
                  <a:extLst>
                    <a:ext uri="{FF2B5EF4-FFF2-40B4-BE49-F238E27FC236}">
                      <a16:creationId xmlns:a16="http://schemas.microsoft.com/office/drawing/2014/main" id="{0F265500-F3E0-4C87-99B9-5006FC66C4DB}"/>
                    </a:ext>
                  </a:extLst>
                </p:cNvPr>
                <p:cNvSpPr/>
                <p:nvPr/>
              </p:nvSpPr>
              <p:spPr>
                <a:xfrm>
                  <a:off x="5290753" y="5244487"/>
                  <a:ext cx="2538" cy="15137"/>
                </a:xfrm>
                <a:custGeom>
                  <a:avLst/>
                  <a:gdLst>
                    <a:gd name="connsiteX0" fmla="*/ 24584 w 24584"/>
                    <a:gd name="connsiteY0" fmla="*/ 641 h 146650"/>
                    <a:gd name="connsiteX1" fmla="*/ 18812 w 24584"/>
                    <a:gd name="connsiteY1" fmla="*/ 146650 h 146650"/>
                    <a:gd name="connsiteX2" fmla="*/ 0 w 24584"/>
                    <a:gd name="connsiteY2" fmla="*/ 146009 h 146650"/>
                    <a:gd name="connsiteX3" fmla="*/ 5772 w 24584"/>
                    <a:gd name="connsiteY3" fmla="*/ 0 h 146650"/>
                    <a:gd name="connsiteX4" fmla="*/ 24584 w 24584"/>
                    <a:gd name="connsiteY4" fmla="*/ 641 h 146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84" h="146650">
                      <a:moveTo>
                        <a:pt x="24584" y="641"/>
                      </a:moveTo>
                      <a:lnTo>
                        <a:pt x="18812" y="146650"/>
                      </a:lnTo>
                      <a:lnTo>
                        <a:pt x="0" y="146009"/>
                      </a:lnTo>
                      <a:lnTo>
                        <a:pt x="5772" y="0"/>
                      </a:lnTo>
                      <a:lnTo>
                        <a:pt x="24584" y="641"/>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4" name="Graphic 2">
                  <a:extLst>
                    <a:ext uri="{FF2B5EF4-FFF2-40B4-BE49-F238E27FC236}">
                      <a16:creationId xmlns:a16="http://schemas.microsoft.com/office/drawing/2014/main" id="{B0891515-F043-4435-9798-E1F7B9844BF5}"/>
                    </a:ext>
                  </a:extLst>
                </p:cNvPr>
                <p:cNvSpPr/>
                <p:nvPr/>
              </p:nvSpPr>
              <p:spPr>
                <a:xfrm>
                  <a:off x="5295488" y="5244700"/>
                  <a:ext cx="11748" cy="15557"/>
                </a:xfrm>
                <a:custGeom>
                  <a:avLst/>
                  <a:gdLst>
                    <a:gd name="connsiteX0" fmla="*/ 108259 w 113816"/>
                    <a:gd name="connsiteY0" fmla="*/ 145224 h 150716"/>
                    <a:gd name="connsiteX1" fmla="*/ 69351 w 113816"/>
                    <a:gd name="connsiteY1" fmla="*/ 150569 h 150716"/>
                    <a:gd name="connsiteX2" fmla="*/ 88 w 113816"/>
                    <a:gd name="connsiteY2" fmla="*/ 73823 h 150716"/>
                    <a:gd name="connsiteX3" fmla="*/ 79399 w 113816"/>
                    <a:gd name="connsiteY3" fmla="*/ 70 h 150716"/>
                    <a:gd name="connsiteX4" fmla="*/ 113817 w 113816"/>
                    <a:gd name="connsiteY4" fmla="*/ 7980 h 150716"/>
                    <a:gd name="connsiteX5" fmla="*/ 108686 w 113816"/>
                    <a:gd name="connsiteY5" fmla="*/ 23158 h 150716"/>
                    <a:gd name="connsiteX6" fmla="*/ 79399 w 113816"/>
                    <a:gd name="connsiteY6" fmla="*/ 15890 h 150716"/>
                    <a:gd name="connsiteX7" fmla="*/ 19969 w 113816"/>
                    <a:gd name="connsiteY7" fmla="*/ 73823 h 150716"/>
                    <a:gd name="connsiteX8" fmla="*/ 73841 w 113816"/>
                    <a:gd name="connsiteY8" fmla="*/ 134749 h 150716"/>
                    <a:gd name="connsiteX9" fmla="*/ 104838 w 113816"/>
                    <a:gd name="connsiteY9" fmla="*/ 129832 h 150716"/>
                    <a:gd name="connsiteX10" fmla="*/ 108259 w 113816"/>
                    <a:gd name="connsiteY10" fmla="*/ 145224 h 15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3816" h="150716">
                      <a:moveTo>
                        <a:pt x="108259" y="145224"/>
                      </a:moveTo>
                      <a:cubicBezTo>
                        <a:pt x="101204" y="148431"/>
                        <a:pt x="87095" y="151424"/>
                        <a:pt x="69351" y="150569"/>
                      </a:cubicBezTo>
                      <a:cubicBezTo>
                        <a:pt x="28092" y="148858"/>
                        <a:pt x="-1836" y="121709"/>
                        <a:pt x="88" y="73823"/>
                      </a:cubicBezTo>
                      <a:cubicBezTo>
                        <a:pt x="1798" y="28075"/>
                        <a:pt x="34078" y="-1640"/>
                        <a:pt x="79399" y="70"/>
                      </a:cubicBezTo>
                      <a:cubicBezTo>
                        <a:pt x="97570" y="711"/>
                        <a:pt x="108900" y="5201"/>
                        <a:pt x="113817" y="7980"/>
                      </a:cubicBezTo>
                      <a:lnTo>
                        <a:pt x="108686" y="23158"/>
                      </a:lnTo>
                      <a:cubicBezTo>
                        <a:pt x="101631" y="19310"/>
                        <a:pt x="91584" y="16317"/>
                        <a:pt x="79399" y="15890"/>
                      </a:cubicBezTo>
                      <a:cubicBezTo>
                        <a:pt x="45194" y="14607"/>
                        <a:pt x="21465" y="35557"/>
                        <a:pt x="19969" y="73823"/>
                      </a:cubicBezTo>
                      <a:cubicBezTo>
                        <a:pt x="18472" y="109524"/>
                        <a:pt x="38354" y="133466"/>
                        <a:pt x="73841" y="134749"/>
                      </a:cubicBezTo>
                      <a:cubicBezTo>
                        <a:pt x="85385" y="135177"/>
                        <a:pt x="97142" y="133253"/>
                        <a:pt x="104838" y="129832"/>
                      </a:cubicBezTo>
                      <a:lnTo>
                        <a:pt x="108259" y="145224"/>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5" name="Graphic 2">
                  <a:extLst>
                    <a:ext uri="{FF2B5EF4-FFF2-40B4-BE49-F238E27FC236}">
                      <a16:creationId xmlns:a16="http://schemas.microsoft.com/office/drawing/2014/main" id="{0C696327-6D5A-4AEC-B4F0-D84927EA2CB6}"/>
                    </a:ext>
                  </a:extLst>
                </p:cNvPr>
                <p:cNvSpPr/>
                <p:nvPr/>
              </p:nvSpPr>
              <p:spPr>
                <a:xfrm>
                  <a:off x="5309068" y="5245215"/>
                  <a:ext cx="8738" cy="15402"/>
                </a:xfrm>
                <a:custGeom>
                  <a:avLst/>
                  <a:gdLst>
                    <a:gd name="connsiteX0" fmla="*/ 78456 w 84655"/>
                    <a:gd name="connsiteY0" fmla="*/ 80380 h 149215"/>
                    <a:gd name="connsiteX1" fmla="*/ 21591 w 84655"/>
                    <a:gd name="connsiteY1" fmla="*/ 78242 h 149215"/>
                    <a:gd name="connsiteX2" fmla="*/ 19454 w 84655"/>
                    <a:gd name="connsiteY2" fmla="*/ 130831 h 149215"/>
                    <a:gd name="connsiteX3" fmla="*/ 82731 w 84655"/>
                    <a:gd name="connsiteY3" fmla="*/ 133396 h 149215"/>
                    <a:gd name="connsiteX4" fmla="*/ 82090 w 84655"/>
                    <a:gd name="connsiteY4" fmla="*/ 149216 h 149215"/>
                    <a:gd name="connsiteX5" fmla="*/ 0 w 84655"/>
                    <a:gd name="connsiteY5" fmla="*/ 146009 h 149215"/>
                    <a:gd name="connsiteX6" fmla="*/ 5772 w 84655"/>
                    <a:gd name="connsiteY6" fmla="*/ 0 h 149215"/>
                    <a:gd name="connsiteX7" fmla="*/ 84655 w 84655"/>
                    <a:gd name="connsiteY7" fmla="*/ 3207 h 149215"/>
                    <a:gd name="connsiteX8" fmla="*/ 84014 w 84655"/>
                    <a:gd name="connsiteY8" fmla="*/ 19026 h 149215"/>
                    <a:gd name="connsiteX9" fmla="*/ 23943 w 84655"/>
                    <a:gd name="connsiteY9" fmla="*/ 16675 h 149215"/>
                    <a:gd name="connsiteX10" fmla="*/ 22233 w 84655"/>
                    <a:gd name="connsiteY10" fmla="*/ 62850 h 149215"/>
                    <a:gd name="connsiteX11" fmla="*/ 79097 w 84655"/>
                    <a:gd name="connsiteY11" fmla="*/ 64988 h 149215"/>
                    <a:gd name="connsiteX12" fmla="*/ 78456 w 84655"/>
                    <a:gd name="connsiteY12" fmla="*/ 80380 h 14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655" h="149215">
                      <a:moveTo>
                        <a:pt x="78456" y="80380"/>
                      </a:moveTo>
                      <a:lnTo>
                        <a:pt x="21591" y="78242"/>
                      </a:lnTo>
                      <a:lnTo>
                        <a:pt x="19454" y="130831"/>
                      </a:lnTo>
                      <a:lnTo>
                        <a:pt x="82731" y="133396"/>
                      </a:lnTo>
                      <a:lnTo>
                        <a:pt x="82090" y="149216"/>
                      </a:lnTo>
                      <a:lnTo>
                        <a:pt x="0" y="146009"/>
                      </a:lnTo>
                      <a:lnTo>
                        <a:pt x="5772" y="0"/>
                      </a:lnTo>
                      <a:lnTo>
                        <a:pt x="84655" y="3207"/>
                      </a:lnTo>
                      <a:lnTo>
                        <a:pt x="84014" y="19026"/>
                      </a:lnTo>
                      <a:lnTo>
                        <a:pt x="23943" y="16675"/>
                      </a:lnTo>
                      <a:lnTo>
                        <a:pt x="22233" y="62850"/>
                      </a:lnTo>
                      <a:lnTo>
                        <a:pt x="79097" y="64988"/>
                      </a:lnTo>
                      <a:lnTo>
                        <a:pt x="78456" y="80380"/>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6" name="Graphic 2">
                  <a:extLst>
                    <a:ext uri="{FF2B5EF4-FFF2-40B4-BE49-F238E27FC236}">
                      <a16:creationId xmlns:a16="http://schemas.microsoft.com/office/drawing/2014/main" id="{33301657-3500-4905-AED7-6E8E30663A8A}"/>
                    </a:ext>
                  </a:extLst>
                </p:cNvPr>
                <p:cNvSpPr/>
                <p:nvPr/>
              </p:nvSpPr>
              <p:spPr>
                <a:xfrm>
                  <a:off x="5634912" y="5354221"/>
                  <a:ext cx="5412" cy="7017"/>
                </a:xfrm>
                <a:custGeom>
                  <a:avLst/>
                  <a:gdLst>
                    <a:gd name="connsiteX0" fmla="*/ 9192 w 52429"/>
                    <a:gd name="connsiteY0" fmla="*/ 0 h 67980"/>
                    <a:gd name="connsiteX1" fmla="*/ 27363 w 52429"/>
                    <a:gd name="connsiteY1" fmla="*/ 1496 h 67980"/>
                    <a:gd name="connsiteX2" fmla="*/ 47031 w 52429"/>
                    <a:gd name="connsiteY2" fmla="*/ 9620 h 67980"/>
                    <a:gd name="connsiteX3" fmla="*/ 52375 w 52429"/>
                    <a:gd name="connsiteY3" fmla="*/ 24371 h 67980"/>
                    <a:gd name="connsiteX4" fmla="*/ 45534 w 52429"/>
                    <a:gd name="connsiteY4" fmla="*/ 38266 h 67980"/>
                    <a:gd name="connsiteX5" fmla="*/ 21378 w 52429"/>
                    <a:gd name="connsiteY5" fmla="*/ 42755 h 67980"/>
                    <a:gd name="connsiteX6" fmla="*/ 13467 w 52429"/>
                    <a:gd name="connsiteY6" fmla="*/ 41045 h 67980"/>
                    <a:gd name="connsiteX7" fmla="*/ 10475 w 52429"/>
                    <a:gd name="connsiteY7" fmla="*/ 67981 h 67980"/>
                    <a:gd name="connsiteX8" fmla="*/ 0 w 52429"/>
                    <a:gd name="connsiteY8" fmla="*/ 66271 h 67980"/>
                    <a:gd name="connsiteX9" fmla="*/ 9192 w 52429"/>
                    <a:gd name="connsiteY9" fmla="*/ 0 h 67980"/>
                    <a:gd name="connsiteX10" fmla="*/ 14536 w 52429"/>
                    <a:gd name="connsiteY10" fmla="*/ 33990 h 67980"/>
                    <a:gd name="connsiteX11" fmla="*/ 22660 w 52429"/>
                    <a:gd name="connsiteY11" fmla="*/ 35914 h 67980"/>
                    <a:gd name="connsiteX12" fmla="*/ 42969 w 52429"/>
                    <a:gd name="connsiteY12" fmla="*/ 23943 h 67980"/>
                    <a:gd name="connsiteX13" fmla="*/ 26936 w 52429"/>
                    <a:gd name="connsiteY13" fmla="*/ 8551 h 67980"/>
                    <a:gd name="connsiteX14" fmla="*/ 17957 w 52429"/>
                    <a:gd name="connsiteY14" fmla="*/ 7910 h 67980"/>
                    <a:gd name="connsiteX15" fmla="*/ 14536 w 52429"/>
                    <a:gd name="connsiteY15" fmla="*/ 33990 h 67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29" h="67980">
                      <a:moveTo>
                        <a:pt x="9192" y="0"/>
                      </a:moveTo>
                      <a:cubicBezTo>
                        <a:pt x="13895" y="0"/>
                        <a:pt x="19881" y="428"/>
                        <a:pt x="27363" y="1496"/>
                      </a:cubicBezTo>
                      <a:cubicBezTo>
                        <a:pt x="36555" y="2779"/>
                        <a:pt x="43183" y="5558"/>
                        <a:pt x="47031" y="9620"/>
                      </a:cubicBezTo>
                      <a:cubicBezTo>
                        <a:pt x="50665" y="13254"/>
                        <a:pt x="52803" y="18385"/>
                        <a:pt x="52375" y="24371"/>
                      </a:cubicBezTo>
                      <a:cubicBezTo>
                        <a:pt x="51947" y="30570"/>
                        <a:pt x="49596" y="35059"/>
                        <a:pt x="45534" y="38266"/>
                      </a:cubicBezTo>
                      <a:cubicBezTo>
                        <a:pt x="39976" y="42542"/>
                        <a:pt x="31211" y="44252"/>
                        <a:pt x="21378" y="42755"/>
                      </a:cubicBezTo>
                      <a:cubicBezTo>
                        <a:pt x="18384" y="42328"/>
                        <a:pt x="15605" y="41900"/>
                        <a:pt x="13467" y="41045"/>
                      </a:cubicBezTo>
                      <a:cubicBezTo>
                        <a:pt x="12185" y="51734"/>
                        <a:pt x="11544" y="57292"/>
                        <a:pt x="10475" y="67981"/>
                      </a:cubicBezTo>
                      <a:cubicBezTo>
                        <a:pt x="6199" y="67340"/>
                        <a:pt x="4276" y="66912"/>
                        <a:pt x="0" y="66271"/>
                      </a:cubicBezTo>
                      <a:cubicBezTo>
                        <a:pt x="2779" y="44252"/>
                        <a:pt x="5772" y="22019"/>
                        <a:pt x="9192" y="0"/>
                      </a:cubicBezTo>
                      <a:close/>
                      <a:moveTo>
                        <a:pt x="14536" y="33990"/>
                      </a:moveTo>
                      <a:cubicBezTo>
                        <a:pt x="16674" y="34846"/>
                        <a:pt x="19240" y="35487"/>
                        <a:pt x="22660" y="35914"/>
                      </a:cubicBezTo>
                      <a:cubicBezTo>
                        <a:pt x="34632" y="37625"/>
                        <a:pt x="42114" y="33135"/>
                        <a:pt x="42969" y="23943"/>
                      </a:cubicBezTo>
                      <a:cubicBezTo>
                        <a:pt x="43610" y="14964"/>
                        <a:pt x="37197" y="10048"/>
                        <a:pt x="26936" y="8551"/>
                      </a:cubicBezTo>
                      <a:cubicBezTo>
                        <a:pt x="22874" y="7910"/>
                        <a:pt x="19667" y="7696"/>
                        <a:pt x="17957" y="7910"/>
                      </a:cubicBezTo>
                      <a:cubicBezTo>
                        <a:pt x="16461" y="18171"/>
                        <a:pt x="15605" y="23515"/>
                        <a:pt x="14536" y="33990"/>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7" name="Graphic 2">
                  <a:extLst>
                    <a:ext uri="{FF2B5EF4-FFF2-40B4-BE49-F238E27FC236}">
                      <a16:creationId xmlns:a16="http://schemas.microsoft.com/office/drawing/2014/main" id="{805521FD-CF70-4642-8693-FFEB3BF8ED7B}"/>
                    </a:ext>
                  </a:extLst>
                </p:cNvPr>
                <p:cNvSpPr/>
                <p:nvPr/>
              </p:nvSpPr>
              <p:spPr>
                <a:xfrm>
                  <a:off x="5641129" y="5354860"/>
                  <a:ext cx="7168" cy="7217"/>
                </a:xfrm>
                <a:custGeom>
                  <a:avLst/>
                  <a:gdLst>
                    <a:gd name="connsiteX0" fmla="*/ 69318 w 69446"/>
                    <a:gd name="connsiteY0" fmla="*/ 33779 h 69917"/>
                    <a:gd name="connsiteX1" fmla="*/ 34900 w 69446"/>
                    <a:gd name="connsiteY1" fmla="*/ 69907 h 69917"/>
                    <a:gd name="connsiteX2" fmla="*/ 55 w 69446"/>
                    <a:gd name="connsiteY2" fmla="*/ 33993 h 69917"/>
                    <a:gd name="connsiteX3" fmla="*/ 35114 w 69446"/>
                    <a:gd name="connsiteY3" fmla="*/ 3 h 69917"/>
                    <a:gd name="connsiteX4" fmla="*/ 69318 w 69446"/>
                    <a:gd name="connsiteY4" fmla="*/ 33779 h 69917"/>
                    <a:gd name="connsiteX5" fmla="*/ 10529 w 69446"/>
                    <a:gd name="connsiteY5" fmla="*/ 34421 h 69917"/>
                    <a:gd name="connsiteX6" fmla="*/ 35328 w 69446"/>
                    <a:gd name="connsiteY6" fmla="*/ 62639 h 69917"/>
                    <a:gd name="connsiteX7" fmla="*/ 59056 w 69446"/>
                    <a:gd name="connsiteY7" fmla="*/ 34421 h 69917"/>
                    <a:gd name="connsiteX8" fmla="*/ 34686 w 69446"/>
                    <a:gd name="connsiteY8" fmla="*/ 7057 h 69917"/>
                    <a:gd name="connsiteX9" fmla="*/ 10529 w 69446"/>
                    <a:gd name="connsiteY9" fmla="*/ 34421 h 69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446" h="69917">
                      <a:moveTo>
                        <a:pt x="69318" y="33779"/>
                      </a:moveTo>
                      <a:cubicBezTo>
                        <a:pt x="71028" y="57081"/>
                        <a:pt x="55422" y="70335"/>
                        <a:pt x="34900" y="69907"/>
                      </a:cubicBezTo>
                      <a:cubicBezTo>
                        <a:pt x="13736" y="69694"/>
                        <a:pt x="-1014" y="54516"/>
                        <a:pt x="55" y="33993"/>
                      </a:cubicBezTo>
                      <a:cubicBezTo>
                        <a:pt x="1123" y="12615"/>
                        <a:pt x="16088" y="-211"/>
                        <a:pt x="35114" y="3"/>
                      </a:cubicBezTo>
                      <a:cubicBezTo>
                        <a:pt x="54781" y="430"/>
                        <a:pt x="67822" y="13684"/>
                        <a:pt x="69318" y="33779"/>
                      </a:cubicBezTo>
                      <a:close/>
                      <a:moveTo>
                        <a:pt x="10529" y="34421"/>
                      </a:moveTo>
                      <a:cubicBezTo>
                        <a:pt x="10102" y="48957"/>
                        <a:pt x="19080" y="62425"/>
                        <a:pt x="35328" y="62639"/>
                      </a:cubicBezTo>
                      <a:cubicBezTo>
                        <a:pt x="51574" y="62853"/>
                        <a:pt x="59912" y="49812"/>
                        <a:pt x="59056" y="34421"/>
                      </a:cubicBezTo>
                      <a:cubicBezTo>
                        <a:pt x="58416" y="20953"/>
                        <a:pt x="50292" y="7271"/>
                        <a:pt x="34686" y="7057"/>
                      </a:cubicBezTo>
                      <a:cubicBezTo>
                        <a:pt x="19294" y="6843"/>
                        <a:pt x="10957" y="19670"/>
                        <a:pt x="10529" y="34421"/>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8" name="Graphic 2">
                  <a:extLst>
                    <a:ext uri="{FF2B5EF4-FFF2-40B4-BE49-F238E27FC236}">
                      <a16:creationId xmlns:a16="http://schemas.microsoft.com/office/drawing/2014/main" id="{02419485-B87D-482B-9696-E5E4990126C6}"/>
                    </a:ext>
                  </a:extLst>
                </p:cNvPr>
                <p:cNvSpPr/>
                <p:nvPr/>
              </p:nvSpPr>
              <p:spPr>
                <a:xfrm>
                  <a:off x="5649299" y="5354794"/>
                  <a:ext cx="5163" cy="7039"/>
                </a:xfrm>
                <a:custGeom>
                  <a:avLst/>
                  <a:gdLst>
                    <a:gd name="connsiteX0" fmla="*/ 0 w 50023"/>
                    <a:gd name="connsiteY0" fmla="*/ 641 h 68194"/>
                    <a:gd name="connsiteX1" fmla="*/ 9192 w 50023"/>
                    <a:gd name="connsiteY1" fmla="*/ 0 h 68194"/>
                    <a:gd name="connsiteX2" fmla="*/ 15606 w 50023"/>
                    <a:gd name="connsiteY2" fmla="*/ 60071 h 68194"/>
                    <a:gd name="connsiteX3" fmla="*/ 48741 w 50023"/>
                    <a:gd name="connsiteY3" fmla="*/ 56437 h 68194"/>
                    <a:gd name="connsiteX4" fmla="*/ 50023 w 50023"/>
                    <a:gd name="connsiteY4" fmla="*/ 63705 h 68194"/>
                    <a:gd name="connsiteX5" fmla="*/ 6199 w 50023"/>
                    <a:gd name="connsiteY5" fmla="*/ 68195 h 68194"/>
                    <a:gd name="connsiteX6" fmla="*/ 0 w 50023"/>
                    <a:gd name="connsiteY6" fmla="*/ 641 h 68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023" h="68194">
                      <a:moveTo>
                        <a:pt x="0" y="641"/>
                      </a:moveTo>
                      <a:cubicBezTo>
                        <a:pt x="3634" y="428"/>
                        <a:pt x="5558" y="214"/>
                        <a:pt x="9192" y="0"/>
                      </a:cubicBezTo>
                      <a:cubicBezTo>
                        <a:pt x="10902" y="20095"/>
                        <a:pt x="13040" y="39976"/>
                        <a:pt x="15606" y="60071"/>
                      </a:cubicBezTo>
                      <a:cubicBezTo>
                        <a:pt x="28860" y="59002"/>
                        <a:pt x="35487" y="58147"/>
                        <a:pt x="48741" y="56437"/>
                      </a:cubicBezTo>
                      <a:cubicBezTo>
                        <a:pt x="49169" y="59430"/>
                        <a:pt x="49596" y="60713"/>
                        <a:pt x="50023" y="63705"/>
                      </a:cubicBezTo>
                      <a:cubicBezTo>
                        <a:pt x="32708" y="66057"/>
                        <a:pt x="23943" y="67126"/>
                        <a:pt x="6199" y="68195"/>
                      </a:cubicBezTo>
                      <a:cubicBezTo>
                        <a:pt x="3634" y="45748"/>
                        <a:pt x="1710" y="23302"/>
                        <a:pt x="0" y="641"/>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699" name="Graphic 2">
                  <a:extLst>
                    <a:ext uri="{FF2B5EF4-FFF2-40B4-BE49-F238E27FC236}">
                      <a16:creationId xmlns:a16="http://schemas.microsoft.com/office/drawing/2014/main" id="{D52DA38F-3BED-4ECA-BC9A-5BC9A963E41D}"/>
                    </a:ext>
                  </a:extLst>
                </p:cNvPr>
                <p:cNvSpPr/>
                <p:nvPr/>
              </p:nvSpPr>
              <p:spPr>
                <a:xfrm>
                  <a:off x="5654374" y="5354155"/>
                  <a:ext cx="2273" cy="7039"/>
                </a:xfrm>
                <a:custGeom>
                  <a:avLst/>
                  <a:gdLst>
                    <a:gd name="connsiteX0" fmla="*/ 8765 w 22019"/>
                    <a:gd name="connsiteY0" fmla="*/ 0 h 68194"/>
                    <a:gd name="connsiteX1" fmla="*/ 22019 w 22019"/>
                    <a:gd name="connsiteY1" fmla="*/ 66484 h 68194"/>
                    <a:gd name="connsiteX2" fmla="*/ 11971 w 22019"/>
                    <a:gd name="connsiteY2" fmla="*/ 68195 h 68194"/>
                    <a:gd name="connsiteX3" fmla="*/ 0 w 22019"/>
                    <a:gd name="connsiteY3" fmla="*/ 1496 h 68194"/>
                    <a:gd name="connsiteX4" fmla="*/ 8765 w 22019"/>
                    <a:gd name="connsiteY4" fmla="*/ 0 h 68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9" h="68194">
                      <a:moveTo>
                        <a:pt x="8765" y="0"/>
                      </a:moveTo>
                      <a:cubicBezTo>
                        <a:pt x="12827" y="22233"/>
                        <a:pt x="17102" y="44252"/>
                        <a:pt x="22019" y="66484"/>
                      </a:cubicBezTo>
                      <a:cubicBezTo>
                        <a:pt x="17957" y="67126"/>
                        <a:pt x="16033" y="67553"/>
                        <a:pt x="11971" y="68195"/>
                      </a:cubicBezTo>
                      <a:cubicBezTo>
                        <a:pt x="7482" y="46176"/>
                        <a:pt x="3634" y="23943"/>
                        <a:pt x="0" y="1496"/>
                      </a:cubicBezTo>
                      <a:cubicBezTo>
                        <a:pt x="3420" y="855"/>
                        <a:pt x="5130" y="641"/>
                        <a:pt x="8765" y="0"/>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0" name="Graphic 2">
                  <a:extLst>
                    <a:ext uri="{FF2B5EF4-FFF2-40B4-BE49-F238E27FC236}">
                      <a16:creationId xmlns:a16="http://schemas.microsoft.com/office/drawing/2014/main" id="{8948C798-8BD7-47B2-B7F3-DDAC26185A69}"/>
                    </a:ext>
                  </a:extLst>
                </p:cNvPr>
                <p:cNvSpPr/>
                <p:nvPr/>
              </p:nvSpPr>
              <p:spPr>
                <a:xfrm>
                  <a:off x="5657078" y="5352814"/>
                  <a:ext cx="6718" cy="7336"/>
                </a:xfrm>
                <a:custGeom>
                  <a:avLst/>
                  <a:gdLst>
                    <a:gd name="connsiteX0" fmla="*/ 65083 w 65083"/>
                    <a:gd name="connsiteY0" fmla="*/ 60659 h 71073"/>
                    <a:gd name="connsiteX1" fmla="*/ 46271 w 65083"/>
                    <a:gd name="connsiteY1" fmla="*/ 69423 h 71073"/>
                    <a:gd name="connsiteX2" fmla="*/ 951 w 65083"/>
                    <a:gd name="connsiteY2" fmla="*/ 44839 h 71073"/>
                    <a:gd name="connsiteX3" fmla="*/ 28955 w 65083"/>
                    <a:gd name="connsiteY3" fmla="*/ 1870 h 71073"/>
                    <a:gd name="connsiteX4" fmla="*/ 45630 w 65083"/>
                    <a:gd name="connsiteY4" fmla="*/ 374 h 71073"/>
                    <a:gd name="connsiteX5" fmla="*/ 45630 w 65083"/>
                    <a:gd name="connsiteY5" fmla="*/ 7856 h 71073"/>
                    <a:gd name="connsiteX6" fmla="*/ 31093 w 65083"/>
                    <a:gd name="connsiteY6" fmla="*/ 8925 h 71073"/>
                    <a:gd name="connsiteX7" fmla="*/ 10784 w 65083"/>
                    <a:gd name="connsiteY7" fmla="*/ 42488 h 71073"/>
                    <a:gd name="connsiteX8" fmla="*/ 46058 w 65083"/>
                    <a:gd name="connsiteY8" fmla="*/ 61941 h 71073"/>
                    <a:gd name="connsiteX9" fmla="*/ 60808 w 65083"/>
                    <a:gd name="connsiteY9" fmla="*/ 54887 h 71073"/>
                    <a:gd name="connsiteX10" fmla="*/ 65083 w 65083"/>
                    <a:gd name="connsiteY10" fmla="*/ 60659 h 7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083" h="71073">
                      <a:moveTo>
                        <a:pt x="65083" y="60659"/>
                      </a:moveTo>
                      <a:cubicBezTo>
                        <a:pt x="62091" y="63224"/>
                        <a:pt x="55464" y="66858"/>
                        <a:pt x="46271" y="69423"/>
                      </a:cubicBezTo>
                      <a:cubicBezTo>
                        <a:pt x="24893" y="74982"/>
                        <a:pt x="5654" y="66431"/>
                        <a:pt x="951" y="44839"/>
                      </a:cubicBezTo>
                      <a:cubicBezTo>
                        <a:pt x="-3539" y="24103"/>
                        <a:pt x="8219" y="7428"/>
                        <a:pt x="28955" y="1870"/>
                      </a:cubicBezTo>
                      <a:cubicBezTo>
                        <a:pt x="37293" y="-268"/>
                        <a:pt x="43064" y="-268"/>
                        <a:pt x="45630" y="374"/>
                      </a:cubicBezTo>
                      <a:cubicBezTo>
                        <a:pt x="45630" y="3367"/>
                        <a:pt x="45630" y="4863"/>
                        <a:pt x="45630" y="7856"/>
                      </a:cubicBezTo>
                      <a:cubicBezTo>
                        <a:pt x="41782" y="7214"/>
                        <a:pt x="36865" y="7428"/>
                        <a:pt x="31093" y="8925"/>
                      </a:cubicBezTo>
                      <a:cubicBezTo>
                        <a:pt x="15273" y="13200"/>
                        <a:pt x="6509" y="25172"/>
                        <a:pt x="10784" y="42488"/>
                      </a:cubicBezTo>
                      <a:cubicBezTo>
                        <a:pt x="14632" y="58521"/>
                        <a:pt x="27887" y="66858"/>
                        <a:pt x="46058" y="61941"/>
                      </a:cubicBezTo>
                      <a:cubicBezTo>
                        <a:pt x="51829" y="60445"/>
                        <a:pt x="57601" y="57666"/>
                        <a:pt x="60808" y="54887"/>
                      </a:cubicBezTo>
                      <a:cubicBezTo>
                        <a:pt x="62732" y="57024"/>
                        <a:pt x="63587" y="58093"/>
                        <a:pt x="65083" y="60659"/>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1" name="Graphic 2">
                  <a:extLst>
                    <a:ext uri="{FF2B5EF4-FFF2-40B4-BE49-F238E27FC236}">
                      <a16:creationId xmlns:a16="http://schemas.microsoft.com/office/drawing/2014/main" id="{7C71FEC6-CF21-4E43-AE45-C12BFFBEA7AB}"/>
                    </a:ext>
                  </a:extLst>
                </p:cNvPr>
                <p:cNvSpPr/>
                <p:nvPr/>
              </p:nvSpPr>
              <p:spPr>
                <a:xfrm>
                  <a:off x="5662825" y="5350955"/>
                  <a:ext cx="6531" cy="7899"/>
                </a:xfrm>
                <a:custGeom>
                  <a:avLst/>
                  <a:gdLst>
                    <a:gd name="connsiteX0" fmla="*/ 47458 w 63277"/>
                    <a:gd name="connsiteY0" fmla="*/ 33990 h 76531"/>
                    <a:gd name="connsiteX1" fmla="*/ 20736 w 63277"/>
                    <a:gd name="connsiteY1" fmla="*/ 43824 h 76531"/>
                    <a:gd name="connsiteX2" fmla="*/ 29287 w 63277"/>
                    <a:gd name="connsiteY2" fmla="*/ 66698 h 76531"/>
                    <a:gd name="connsiteX3" fmla="*/ 60285 w 63277"/>
                    <a:gd name="connsiteY3" fmla="*/ 54941 h 76531"/>
                    <a:gd name="connsiteX4" fmla="*/ 63277 w 63277"/>
                    <a:gd name="connsiteY4" fmla="*/ 61568 h 76531"/>
                    <a:gd name="connsiteX5" fmla="*/ 22233 w 63277"/>
                    <a:gd name="connsiteY5" fmla="*/ 76532 h 76531"/>
                    <a:gd name="connsiteX6" fmla="*/ 0 w 63277"/>
                    <a:gd name="connsiteY6" fmla="*/ 12613 h 76531"/>
                    <a:gd name="connsiteX7" fmla="*/ 35059 w 63277"/>
                    <a:gd name="connsiteY7" fmla="*/ 0 h 76531"/>
                    <a:gd name="connsiteX8" fmla="*/ 37838 w 63277"/>
                    <a:gd name="connsiteY8" fmla="*/ 6841 h 76531"/>
                    <a:gd name="connsiteX9" fmla="*/ 10902 w 63277"/>
                    <a:gd name="connsiteY9" fmla="*/ 16888 h 76531"/>
                    <a:gd name="connsiteX10" fmla="*/ 18171 w 63277"/>
                    <a:gd name="connsiteY10" fmla="*/ 36983 h 76531"/>
                    <a:gd name="connsiteX11" fmla="*/ 44679 w 63277"/>
                    <a:gd name="connsiteY11" fmla="*/ 27150 h 76531"/>
                    <a:gd name="connsiteX12" fmla="*/ 47458 w 63277"/>
                    <a:gd name="connsiteY12" fmla="*/ 33990 h 7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277" h="76531">
                      <a:moveTo>
                        <a:pt x="47458" y="33990"/>
                      </a:moveTo>
                      <a:cubicBezTo>
                        <a:pt x="36769" y="38266"/>
                        <a:pt x="31425" y="40190"/>
                        <a:pt x="20736" y="43824"/>
                      </a:cubicBezTo>
                      <a:cubicBezTo>
                        <a:pt x="24156" y="53016"/>
                        <a:pt x="25867" y="57506"/>
                        <a:pt x="29287" y="66698"/>
                      </a:cubicBezTo>
                      <a:cubicBezTo>
                        <a:pt x="41900" y="62423"/>
                        <a:pt x="48100" y="60071"/>
                        <a:pt x="60285" y="54941"/>
                      </a:cubicBezTo>
                      <a:cubicBezTo>
                        <a:pt x="61567" y="57720"/>
                        <a:pt x="61995" y="59002"/>
                        <a:pt x="63277" y="61568"/>
                      </a:cubicBezTo>
                      <a:cubicBezTo>
                        <a:pt x="47031" y="68195"/>
                        <a:pt x="38907" y="71187"/>
                        <a:pt x="22233" y="76532"/>
                      </a:cubicBezTo>
                      <a:cubicBezTo>
                        <a:pt x="14536" y="55368"/>
                        <a:pt x="7054" y="33990"/>
                        <a:pt x="0" y="12613"/>
                      </a:cubicBezTo>
                      <a:cubicBezTo>
                        <a:pt x="14109" y="8123"/>
                        <a:pt x="21164" y="5558"/>
                        <a:pt x="35059" y="0"/>
                      </a:cubicBezTo>
                      <a:cubicBezTo>
                        <a:pt x="36128" y="2779"/>
                        <a:pt x="36769" y="4062"/>
                        <a:pt x="37838" y="6841"/>
                      </a:cubicBezTo>
                      <a:cubicBezTo>
                        <a:pt x="27149" y="11116"/>
                        <a:pt x="21805" y="13040"/>
                        <a:pt x="10902" y="16888"/>
                      </a:cubicBezTo>
                      <a:cubicBezTo>
                        <a:pt x="13681" y="25012"/>
                        <a:pt x="15178" y="29074"/>
                        <a:pt x="18171" y="36983"/>
                      </a:cubicBezTo>
                      <a:cubicBezTo>
                        <a:pt x="28860" y="33349"/>
                        <a:pt x="34204" y="31425"/>
                        <a:pt x="44679" y="27150"/>
                      </a:cubicBezTo>
                      <a:cubicBezTo>
                        <a:pt x="45748" y="30142"/>
                        <a:pt x="46175" y="31425"/>
                        <a:pt x="47458" y="33990"/>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2" name="Graphic 2">
                  <a:extLst>
                    <a:ext uri="{FF2B5EF4-FFF2-40B4-BE49-F238E27FC236}">
                      <a16:creationId xmlns:a16="http://schemas.microsoft.com/office/drawing/2014/main" id="{AB9FF272-DC75-4233-86C7-F75AC63BF190}"/>
                    </a:ext>
                  </a:extLst>
                </p:cNvPr>
                <p:cNvSpPr/>
                <p:nvPr/>
              </p:nvSpPr>
              <p:spPr>
                <a:xfrm>
                  <a:off x="5220121" y="5552922"/>
                  <a:ext cx="5606" cy="9115"/>
                </a:xfrm>
                <a:custGeom>
                  <a:avLst/>
                  <a:gdLst>
                    <a:gd name="connsiteX0" fmla="*/ 0 w 54313"/>
                    <a:gd name="connsiteY0" fmla="*/ 2365 h 88303"/>
                    <a:gd name="connsiteX1" fmla="*/ 21591 w 54313"/>
                    <a:gd name="connsiteY1" fmla="*/ 13 h 88303"/>
                    <a:gd name="connsiteX2" fmla="*/ 46176 w 54313"/>
                    <a:gd name="connsiteY2" fmla="*/ 6640 h 88303"/>
                    <a:gd name="connsiteX3" fmla="*/ 54299 w 54313"/>
                    <a:gd name="connsiteY3" fmla="*/ 24598 h 88303"/>
                    <a:gd name="connsiteX4" fmla="*/ 48100 w 54313"/>
                    <a:gd name="connsiteY4" fmla="*/ 43410 h 88303"/>
                    <a:gd name="connsiteX5" fmla="*/ 21805 w 54313"/>
                    <a:gd name="connsiteY5" fmla="*/ 53671 h 88303"/>
                    <a:gd name="connsiteX6" fmla="*/ 12827 w 54313"/>
                    <a:gd name="connsiteY6" fmla="*/ 53244 h 88303"/>
                    <a:gd name="connsiteX7" fmla="*/ 13682 w 54313"/>
                    <a:gd name="connsiteY7" fmla="*/ 88089 h 88303"/>
                    <a:gd name="connsiteX8" fmla="*/ 2352 w 54313"/>
                    <a:gd name="connsiteY8" fmla="*/ 88303 h 88303"/>
                    <a:gd name="connsiteX9" fmla="*/ 0 w 54313"/>
                    <a:gd name="connsiteY9" fmla="*/ 2365 h 88303"/>
                    <a:gd name="connsiteX10" fmla="*/ 12399 w 54313"/>
                    <a:gd name="connsiteY10" fmla="*/ 43838 h 88303"/>
                    <a:gd name="connsiteX11" fmla="*/ 21805 w 54313"/>
                    <a:gd name="connsiteY11" fmla="*/ 44479 h 88303"/>
                    <a:gd name="connsiteX12" fmla="*/ 43183 w 54313"/>
                    <a:gd name="connsiteY12" fmla="*/ 25239 h 88303"/>
                    <a:gd name="connsiteX13" fmla="*/ 22233 w 54313"/>
                    <a:gd name="connsiteY13" fmla="*/ 8778 h 88303"/>
                    <a:gd name="connsiteX14" fmla="*/ 11758 w 54313"/>
                    <a:gd name="connsiteY14" fmla="*/ 10061 h 88303"/>
                    <a:gd name="connsiteX15" fmla="*/ 12399 w 54313"/>
                    <a:gd name="connsiteY15" fmla="*/ 43838 h 8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313" h="88303">
                      <a:moveTo>
                        <a:pt x="0" y="2365"/>
                      </a:moveTo>
                      <a:cubicBezTo>
                        <a:pt x="5344" y="1296"/>
                        <a:pt x="12399" y="441"/>
                        <a:pt x="21591" y="13"/>
                      </a:cubicBezTo>
                      <a:cubicBezTo>
                        <a:pt x="32708" y="-200"/>
                        <a:pt x="40831" y="2151"/>
                        <a:pt x="46176" y="6640"/>
                      </a:cubicBezTo>
                      <a:cubicBezTo>
                        <a:pt x="51093" y="10702"/>
                        <a:pt x="54085" y="16902"/>
                        <a:pt x="54299" y="24598"/>
                      </a:cubicBezTo>
                      <a:cubicBezTo>
                        <a:pt x="54513" y="32507"/>
                        <a:pt x="52375" y="38707"/>
                        <a:pt x="48100" y="43410"/>
                      </a:cubicBezTo>
                      <a:cubicBezTo>
                        <a:pt x="42328" y="49823"/>
                        <a:pt x="32708" y="53457"/>
                        <a:pt x="21805" y="53671"/>
                      </a:cubicBezTo>
                      <a:cubicBezTo>
                        <a:pt x="18385" y="53671"/>
                        <a:pt x="15392" y="53671"/>
                        <a:pt x="12827" y="53244"/>
                      </a:cubicBezTo>
                      <a:lnTo>
                        <a:pt x="13682" y="88089"/>
                      </a:lnTo>
                      <a:lnTo>
                        <a:pt x="2352" y="88303"/>
                      </a:lnTo>
                      <a:lnTo>
                        <a:pt x="0" y="2365"/>
                      </a:lnTo>
                      <a:close/>
                      <a:moveTo>
                        <a:pt x="12399" y="43838"/>
                      </a:moveTo>
                      <a:cubicBezTo>
                        <a:pt x="14964" y="44479"/>
                        <a:pt x="17957" y="44693"/>
                        <a:pt x="21805" y="44479"/>
                      </a:cubicBezTo>
                      <a:cubicBezTo>
                        <a:pt x="35273" y="44051"/>
                        <a:pt x="43397" y="37211"/>
                        <a:pt x="43183" y="25239"/>
                      </a:cubicBezTo>
                      <a:cubicBezTo>
                        <a:pt x="42969" y="13695"/>
                        <a:pt x="34632" y="8351"/>
                        <a:pt x="22233" y="8778"/>
                      </a:cubicBezTo>
                      <a:cubicBezTo>
                        <a:pt x="17316" y="8992"/>
                        <a:pt x="13682" y="9420"/>
                        <a:pt x="11758" y="10061"/>
                      </a:cubicBezTo>
                      <a:lnTo>
                        <a:pt x="12399" y="43838"/>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3" name="Graphic 2">
                  <a:extLst>
                    <a:ext uri="{FF2B5EF4-FFF2-40B4-BE49-F238E27FC236}">
                      <a16:creationId xmlns:a16="http://schemas.microsoft.com/office/drawing/2014/main" id="{F3DCF0B8-AAC1-4D5B-8891-8F4D806E0B50}"/>
                    </a:ext>
                  </a:extLst>
                </p:cNvPr>
                <p:cNvSpPr/>
                <p:nvPr/>
              </p:nvSpPr>
              <p:spPr>
                <a:xfrm>
                  <a:off x="5226804" y="5552613"/>
                  <a:ext cx="8215" cy="9293"/>
                </a:xfrm>
                <a:custGeom>
                  <a:avLst/>
                  <a:gdLst>
                    <a:gd name="connsiteX0" fmla="*/ 79556 w 79585"/>
                    <a:gd name="connsiteY0" fmla="*/ 42986 h 90033"/>
                    <a:gd name="connsiteX1" fmla="*/ 40435 w 79585"/>
                    <a:gd name="connsiteY1" fmla="*/ 90017 h 90033"/>
                    <a:gd name="connsiteX2" fmla="*/ 31 w 79585"/>
                    <a:gd name="connsiteY2" fmla="*/ 46834 h 90033"/>
                    <a:gd name="connsiteX3" fmla="*/ 39152 w 79585"/>
                    <a:gd name="connsiteY3" fmla="*/ 17 h 90033"/>
                    <a:gd name="connsiteX4" fmla="*/ 79556 w 79585"/>
                    <a:gd name="connsiteY4" fmla="*/ 42986 h 90033"/>
                    <a:gd name="connsiteX5" fmla="*/ 12003 w 79585"/>
                    <a:gd name="connsiteY5" fmla="*/ 46192 h 90033"/>
                    <a:gd name="connsiteX6" fmla="*/ 40649 w 79585"/>
                    <a:gd name="connsiteY6" fmla="*/ 80611 h 90033"/>
                    <a:gd name="connsiteX7" fmla="*/ 67584 w 79585"/>
                    <a:gd name="connsiteY7" fmla="*/ 43627 h 90033"/>
                    <a:gd name="connsiteX8" fmla="*/ 38938 w 79585"/>
                    <a:gd name="connsiteY8" fmla="*/ 8996 h 90033"/>
                    <a:gd name="connsiteX9" fmla="*/ 12003 w 79585"/>
                    <a:gd name="connsiteY9" fmla="*/ 46192 h 9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85" h="90033">
                      <a:moveTo>
                        <a:pt x="79556" y="42986"/>
                      </a:moveTo>
                      <a:cubicBezTo>
                        <a:pt x="80411" y="72914"/>
                        <a:pt x="62668" y="89375"/>
                        <a:pt x="40435" y="90017"/>
                      </a:cubicBezTo>
                      <a:cubicBezTo>
                        <a:pt x="17347" y="90658"/>
                        <a:pt x="886" y="73342"/>
                        <a:pt x="31" y="46834"/>
                      </a:cubicBezTo>
                      <a:cubicBezTo>
                        <a:pt x="-824" y="19257"/>
                        <a:pt x="16064" y="658"/>
                        <a:pt x="39152" y="17"/>
                      </a:cubicBezTo>
                      <a:cubicBezTo>
                        <a:pt x="63095" y="-624"/>
                        <a:pt x="78915" y="17119"/>
                        <a:pt x="79556" y="42986"/>
                      </a:cubicBezTo>
                      <a:close/>
                      <a:moveTo>
                        <a:pt x="12003" y="46192"/>
                      </a:moveTo>
                      <a:cubicBezTo>
                        <a:pt x="12430" y="64791"/>
                        <a:pt x="23119" y="81252"/>
                        <a:pt x="40649" y="80611"/>
                      </a:cubicBezTo>
                      <a:cubicBezTo>
                        <a:pt x="58392" y="80183"/>
                        <a:pt x="68012" y="63509"/>
                        <a:pt x="67584" y="43627"/>
                      </a:cubicBezTo>
                      <a:cubicBezTo>
                        <a:pt x="67157" y="26311"/>
                        <a:pt x="57537" y="8568"/>
                        <a:pt x="38938" y="8996"/>
                      </a:cubicBezTo>
                      <a:cubicBezTo>
                        <a:pt x="20340" y="9637"/>
                        <a:pt x="11575" y="27167"/>
                        <a:pt x="12003" y="46192"/>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4" name="Graphic 2">
                  <a:extLst>
                    <a:ext uri="{FF2B5EF4-FFF2-40B4-BE49-F238E27FC236}">
                      <a16:creationId xmlns:a16="http://schemas.microsoft.com/office/drawing/2014/main" id="{E4F6709A-B9DD-4E16-BFAE-BE1FAEE247BD}"/>
                    </a:ext>
                  </a:extLst>
                </p:cNvPr>
                <p:cNvSpPr/>
                <p:nvPr/>
              </p:nvSpPr>
              <p:spPr>
                <a:xfrm>
                  <a:off x="5236405" y="5552593"/>
                  <a:ext cx="5252" cy="9003"/>
                </a:xfrm>
                <a:custGeom>
                  <a:avLst/>
                  <a:gdLst>
                    <a:gd name="connsiteX0" fmla="*/ 0 w 50878"/>
                    <a:gd name="connsiteY0" fmla="*/ 214 h 87220"/>
                    <a:gd name="connsiteX1" fmla="*/ 11330 w 50878"/>
                    <a:gd name="connsiteY1" fmla="*/ 0 h 87220"/>
                    <a:gd name="connsiteX2" fmla="*/ 13468 w 50878"/>
                    <a:gd name="connsiteY2" fmla="*/ 77601 h 87220"/>
                    <a:gd name="connsiteX3" fmla="*/ 50665 w 50878"/>
                    <a:gd name="connsiteY3" fmla="*/ 76532 h 87220"/>
                    <a:gd name="connsiteX4" fmla="*/ 50879 w 50878"/>
                    <a:gd name="connsiteY4" fmla="*/ 85938 h 87220"/>
                    <a:gd name="connsiteX5" fmla="*/ 2352 w 50878"/>
                    <a:gd name="connsiteY5" fmla="*/ 87221 h 87220"/>
                    <a:gd name="connsiteX6" fmla="*/ 0 w 50878"/>
                    <a:gd name="connsiteY6" fmla="*/ 214 h 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78" h="87220">
                      <a:moveTo>
                        <a:pt x="0" y="214"/>
                      </a:moveTo>
                      <a:lnTo>
                        <a:pt x="11330" y="0"/>
                      </a:lnTo>
                      <a:lnTo>
                        <a:pt x="13468" y="77601"/>
                      </a:lnTo>
                      <a:lnTo>
                        <a:pt x="50665" y="76532"/>
                      </a:lnTo>
                      <a:lnTo>
                        <a:pt x="50879" y="85938"/>
                      </a:lnTo>
                      <a:lnTo>
                        <a:pt x="2352" y="87221"/>
                      </a:lnTo>
                      <a:lnTo>
                        <a:pt x="0" y="214"/>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5" name="Graphic 2">
                  <a:extLst>
                    <a:ext uri="{FF2B5EF4-FFF2-40B4-BE49-F238E27FC236}">
                      <a16:creationId xmlns:a16="http://schemas.microsoft.com/office/drawing/2014/main" id="{71239523-0014-41B2-AAC2-402E67B672EB}"/>
                    </a:ext>
                  </a:extLst>
                </p:cNvPr>
                <p:cNvSpPr/>
                <p:nvPr/>
              </p:nvSpPr>
              <p:spPr>
                <a:xfrm>
                  <a:off x="5242694" y="5552416"/>
                  <a:ext cx="1412" cy="9003"/>
                </a:xfrm>
                <a:custGeom>
                  <a:avLst/>
                  <a:gdLst>
                    <a:gd name="connsiteX0" fmla="*/ 11330 w 13681"/>
                    <a:gd name="connsiteY0" fmla="*/ 0 h 87220"/>
                    <a:gd name="connsiteX1" fmla="*/ 13682 w 13681"/>
                    <a:gd name="connsiteY1" fmla="*/ 87007 h 87220"/>
                    <a:gd name="connsiteX2" fmla="*/ 2352 w 13681"/>
                    <a:gd name="connsiteY2" fmla="*/ 87221 h 87220"/>
                    <a:gd name="connsiteX3" fmla="*/ 0 w 13681"/>
                    <a:gd name="connsiteY3" fmla="*/ 214 h 87220"/>
                    <a:gd name="connsiteX4" fmla="*/ 11330 w 13681"/>
                    <a:gd name="connsiteY4" fmla="*/ 0 h 8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1" h="87220">
                      <a:moveTo>
                        <a:pt x="11330" y="0"/>
                      </a:moveTo>
                      <a:lnTo>
                        <a:pt x="13682" y="87007"/>
                      </a:lnTo>
                      <a:lnTo>
                        <a:pt x="2352" y="87221"/>
                      </a:lnTo>
                      <a:lnTo>
                        <a:pt x="0" y="214"/>
                      </a:lnTo>
                      <a:lnTo>
                        <a:pt x="11330" y="0"/>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6" name="Graphic 2">
                  <a:extLst>
                    <a:ext uri="{FF2B5EF4-FFF2-40B4-BE49-F238E27FC236}">
                      <a16:creationId xmlns:a16="http://schemas.microsoft.com/office/drawing/2014/main" id="{39474A5D-59EB-441F-959E-F2EBDB4CC392}"/>
                    </a:ext>
                  </a:extLst>
                </p:cNvPr>
                <p:cNvSpPr/>
                <p:nvPr/>
              </p:nvSpPr>
              <p:spPr>
                <a:xfrm>
                  <a:off x="5245472" y="5552062"/>
                  <a:ext cx="6930" cy="9293"/>
                </a:xfrm>
                <a:custGeom>
                  <a:avLst/>
                  <a:gdLst>
                    <a:gd name="connsiteX0" fmla="*/ 67142 w 67142"/>
                    <a:gd name="connsiteY0" fmla="*/ 85312 h 90034"/>
                    <a:gd name="connsiteX1" fmla="*/ 44268 w 67142"/>
                    <a:gd name="connsiteY1" fmla="*/ 90015 h 90034"/>
                    <a:gd name="connsiteX2" fmla="*/ 17 w 67142"/>
                    <a:gd name="connsiteY2" fmla="*/ 47046 h 90034"/>
                    <a:gd name="connsiteX3" fmla="*/ 44268 w 67142"/>
                    <a:gd name="connsiteY3" fmla="*/ 15 h 90034"/>
                    <a:gd name="connsiteX4" fmla="*/ 65005 w 67142"/>
                    <a:gd name="connsiteY4" fmla="*/ 3222 h 90034"/>
                    <a:gd name="connsiteX5" fmla="*/ 62439 w 67142"/>
                    <a:gd name="connsiteY5" fmla="*/ 12414 h 90034"/>
                    <a:gd name="connsiteX6" fmla="*/ 44696 w 67142"/>
                    <a:gd name="connsiteY6" fmla="*/ 9207 h 90034"/>
                    <a:gd name="connsiteX7" fmla="*/ 11774 w 67142"/>
                    <a:gd name="connsiteY7" fmla="*/ 45977 h 90034"/>
                    <a:gd name="connsiteX8" fmla="*/ 46192 w 67142"/>
                    <a:gd name="connsiteY8" fmla="*/ 79967 h 90034"/>
                    <a:gd name="connsiteX9" fmla="*/ 64363 w 67142"/>
                    <a:gd name="connsiteY9" fmla="*/ 75905 h 90034"/>
                    <a:gd name="connsiteX10" fmla="*/ 67142 w 67142"/>
                    <a:gd name="connsiteY10" fmla="*/ 85312 h 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142" h="90034">
                      <a:moveTo>
                        <a:pt x="67142" y="85312"/>
                      </a:moveTo>
                      <a:cubicBezTo>
                        <a:pt x="63081" y="87449"/>
                        <a:pt x="54957" y="89801"/>
                        <a:pt x="44268" y="90015"/>
                      </a:cubicBezTo>
                      <a:cubicBezTo>
                        <a:pt x="19684" y="90656"/>
                        <a:pt x="872" y="75692"/>
                        <a:pt x="17" y="47046"/>
                      </a:cubicBezTo>
                      <a:cubicBezTo>
                        <a:pt x="-625" y="19896"/>
                        <a:pt x="17332" y="870"/>
                        <a:pt x="44268" y="15"/>
                      </a:cubicBezTo>
                      <a:cubicBezTo>
                        <a:pt x="55171" y="-199"/>
                        <a:pt x="62012" y="1939"/>
                        <a:pt x="65005" y="3222"/>
                      </a:cubicBezTo>
                      <a:lnTo>
                        <a:pt x="62439" y="12414"/>
                      </a:lnTo>
                      <a:cubicBezTo>
                        <a:pt x="58164" y="10490"/>
                        <a:pt x="51964" y="8994"/>
                        <a:pt x="44696" y="9207"/>
                      </a:cubicBezTo>
                      <a:cubicBezTo>
                        <a:pt x="24387" y="9849"/>
                        <a:pt x="11133" y="23103"/>
                        <a:pt x="11774" y="45977"/>
                      </a:cubicBezTo>
                      <a:cubicBezTo>
                        <a:pt x="12416" y="67354"/>
                        <a:pt x="25028" y="80609"/>
                        <a:pt x="46192" y="79967"/>
                      </a:cubicBezTo>
                      <a:cubicBezTo>
                        <a:pt x="53033" y="79754"/>
                        <a:pt x="59874" y="78257"/>
                        <a:pt x="64363" y="75905"/>
                      </a:cubicBezTo>
                      <a:lnTo>
                        <a:pt x="67142" y="85312"/>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7" name="Graphic 2">
                  <a:extLst>
                    <a:ext uri="{FF2B5EF4-FFF2-40B4-BE49-F238E27FC236}">
                      <a16:creationId xmlns:a16="http://schemas.microsoft.com/office/drawing/2014/main" id="{DDC4E060-3ED3-473C-BBDB-9CF636807D14}"/>
                    </a:ext>
                  </a:extLst>
                </p:cNvPr>
                <p:cNvSpPr/>
                <p:nvPr/>
              </p:nvSpPr>
              <p:spPr>
                <a:xfrm>
                  <a:off x="5253616" y="5551997"/>
                  <a:ext cx="5296" cy="9113"/>
                </a:xfrm>
                <a:custGeom>
                  <a:avLst/>
                  <a:gdLst>
                    <a:gd name="connsiteX0" fmla="*/ 46390 w 51306"/>
                    <a:gd name="connsiteY0" fmla="*/ 46389 h 88289"/>
                    <a:gd name="connsiteX1" fmla="*/ 12613 w 51306"/>
                    <a:gd name="connsiteY1" fmla="*/ 47245 h 88289"/>
                    <a:gd name="connsiteX2" fmla="*/ 13468 w 51306"/>
                    <a:gd name="connsiteY2" fmla="*/ 78670 h 88289"/>
                    <a:gd name="connsiteX3" fmla="*/ 51093 w 51306"/>
                    <a:gd name="connsiteY3" fmla="*/ 77601 h 88289"/>
                    <a:gd name="connsiteX4" fmla="*/ 51306 w 51306"/>
                    <a:gd name="connsiteY4" fmla="*/ 87007 h 88289"/>
                    <a:gd name="connsiteX5" fmla="*/ 2352 w 51306"/>
                    <a:gd name="connsiteY5" fmla="*/ 88289 h 88289"/>
                    <a:gd name="connsiteX6" fmla="*/ 0 w 51306"/>
                    <a:gd name="connsiteY6" fmla="*/ 1283 h 88289"/>
                    <a:gd name="connsiteX7" fmla="*/ 47031 w 51306"/>
                    <a:gd name="connsiteY7" fmla="*/ 0 h 88289"/>
                    <a:gd name="connsiteX8" fmla="*/ 47245 w 51306"/>
                    <a:gd name="connsiteY8" fmla="*/ 9406 h 88289"/>
                    <a:gd name="connsiteX9" fmla="*/ 11544 w 51306"/>
                    <a:gd name="connsiteY9" fmla="*/ 10475 h 88289"/>
                    <a:gd name="connsiteX10" fmla="*/ 12185 w 51306"/>
                    <a:gd name="connsiteY10" fmla="*/ 38052 h 88289"/>
                    <a:gd name="connsiteX11" fmla="*/ 45962 w 51306"/>
                    <a:gd name="connsiteY11" fmla="*/ 37197 h 88289"/>
                    <a:gd name="connsiteX12" fmla="*/ 46390 w 51306"/>
                    <a:gd name="connsiteY12" fmla="*/ 46389 h 8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06" h="88289">
                      <a:moveTo>
                        <a:pt x="46390" y="46389"/>
                      </a:moveTo>
                      <a:lnTo>
                        <a:pt x="12613" y="47245"/>
                      </a:lnTo>
                      <a:lnTo>
                        <a:pt x="13468" y="78670"/>
                      </a:lnTo>
                      <a:lnTo>
                        <a:pt x="51093" y="77601"/>
                      </a:lnTo>
                      <a:lnTo>
                        <a:pt x="51306" y="87007"/>
                      </a:lnTo>
                      <a:lnTo>
                        <a:pt x="2352" y="88289"/>
                      </a:lnTo>
                      <a:lnTo>
                        <a:pt x="0" y="1283"/>
                      </a:lnTo>
                      <a:lnTo>
                        <a:pt x="47031" y="0"/>
                      </a:lnTo>
                      <a:lnTo>
                        <a:pt x="47245" y="9406"/>
                      </a:lnTo>
                      <a:lnTo>
                        <a:pt x="11544" y="10475"/>
                      </a:lnTo>
                      <a:lnTo>
                        <a:pt x="12185" y="38052"/>
                      </a:lnTo>
                      <a:lnTo>
                        <a:pt x="45962" y="37197"/>
                      </a:lnTo>
                      <a:lnTo>
                        <a:pt x="46390" y="46389"/>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8" name="Graphic 2">
                  <a:extLst>
                    <a:ext uri="{FF2B5EF4-FFF2-40B4-BE49-F238E27FC236}">
                      <a16:creationId xmlns:a16="http://schemas.microsoft.com/office/drawing/2014/main" id="{68BF20E1-FB2E-4596-A316-D2BC6C0C6C2C}"/>
                    </a:ext>
                  </a:extLst>
                </p:cNvPr>
                <p:cNvSpPr/>
                <p:nvPr/>
              </p:nvSpPr>
              <p:spPr>
                <a:xfrm>
                  <a:off x="5108160" y="5638339"/>
                  <a:ext cx="5606" cy="9115"/>
                </a:xfrm>
                <a:custGeom>
                  <a:avLst/>
                  <a:gdLst>
                    <a:gd name="connsiteX0" fmla="*/ 0 w 54313"/>
                    <a:gd name="connsiteY0" fmla="*/ 2365 h 88302"/>
                    <a:gd name="connsiteX1" fmla="*/ 21591 w 54313"/>
                    <a:gd name="connsiteY1" fmla="*/ 13 h 88302"/>
                    <a:gd name="connsiteX2" fmla="*/ 46176 w 54313"/>
                    <a:gd name="connsiteY2" fmla="*/ 6640 h 88302"/>
                    <a:gd name="connsiteX3" fmla="*/ 54299 w 54313"/>
                    <a:gd name="connsiteY3" fmla="*/ 24598 h 88302"/>
                    <a:gd name="connsiteX4" fmla="*/ 48100 w 54313"/>
                    <a:gd name="connsiteY4" fmla="*/ 43410 h 88302"/>
                    <a:gd name="connsiteX5" fmla="*/ 21805 w 54313"/>
                    <a:gd name="connsiteY5" fmla="*/ 53671 h 88302"/>
                    <a:gd name="connsiteX6" fmla="*/ 12827 w 54313"/>
                    <a:gd name="connsiteY6" fmla="*/ 53244 h 88302"/>
                    <a:gd name="connsiteX7" fmla="*/ 13682 w 54313"/>
                    <a:gd name="connsiteY7" fmla="*/ 88089 h 88302"/>
                    <a:gd name="connsiteX8" fmla="*/ 2352 w 54313"/>
                    <a:gd name="connsiteY8" fmla="*/ 88303 h 88302"/>
                    <a:gd name="connsiteX9" fmla="*/ 0 w 54313"/>
                    <a:gd name="connsiteY9" fmla="*/ 2365 h 88302"/>
                    <a:gd name="connsiteX10" fmla="*/ 12399 w 54313"/>
                    <a:gd name="connsiteY10" fmla="*/ 44051 h 88302"/>
                    <a:gd name="connsiteX11" fmla="*/ 21805 w 54313"/>
                    <a:gd name="connsiteY11" fmla="*/ 44692 h 88302"/>
                    <a:gd name="connsiteX12" fmla="*/ 43183 w 54313"/>
                    <a:gd name="connsiteY12" fmla="*/ 25453 h 88302"/>
                    <a:gd name="connsiteX13" fmla="*/ 22233 w 54313"/>
                    <a:gd name="connsiteY13" fmla="*/ 8992 h 88302"/>
                    <a:gd name="connsiteX14" fmla="*/ 11758 w 54313"/>
                    <a:gd name="connsiteY14" fmla="*/ 10274 h 88302"/>
                    <a:gd name="connsiteX15" fmla="*/ 12399 w 54313"/>
                    <a:gd name="connsiteY15" fmla="*/ 44051 h 88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313" h="88302">
                      <a:moveTo>
                        <a:pt x="0" y="2365"/>
                      </a:moveTo>
                      <a:cubicBezTo>
                        <a:pt x="5344" y="1296"/>
                        <a:pt x="12399" y="441"/>
                        <a:pt x="21591" y="13"/>
                      </a:cubicBezTo>
                      <a:cubicBezTo>
                        <a:pt x="32708" y="-201"/>
                        <a:pt x="40831" y="2151"/>
                        <a:pt x="46176" y="6640"/>
                      </a:cubicBezTo>
                      <a:cubicBezTo>
                        <a:pt x="51093" y="10702"/>
                        <a:pt x="54085" y="16902"/>
                        <a:pt x="54299" y="24598"/>
                      </a:cubicBezTo>
                      <a:cubicBezTo>
                        <a:pt x="54513" y="32507"/>
                        <a:pt x="52375" y="38707"/>
                        <a:pt x="48100" y="43410"/>
                      </a:cubicBezTo>
                      <a:cubicBezTo>
                        <a:pt x="42328" y="49823"/>
                        <a:pt x="32708" y="53457"/>
                        <a:pt x="21805" y="53671"/>
                      </a:cubicBezTo>
                      <a:cubicBezTo>
                        <a:pt x="18385" y="53671"/>
                        <a:pt x="15392" y="53671"/>
                        <a:pt x="12827" y="53244"/>
                      </a:cubicBezTo>
                      <a:lnTo>
                        <a:pt x="13682" y="88089"/>
                      </a:lnTo>
                      <a:lnTo>
                        <a:pt x="2352" y="88303"/>
                      </a:lnTo>
                      <a:lnTo>
                        <a:pt x="0" y="2365"/>
                      </a:lnTo>
                      <a:close/>
                      <a:moveTo>
                        <a:pt x="12399" y="44051"/>
                      </a:moveTo>
                      <a:cubicBezTo>
                        <a:pt x="14964" y="44692"/>
                        <a:pt x="17957" y="44906"/>
                        <a:pt x="21805" y="44692"/>
                      </a:cubicBezTo>
                      <a:cubicBezTo>
                        <a:pt x="35273" y="44265"/>
                        <a:pt x="43397" y="37424"/>
                        <a:pt x="43183" y="25453"/>
                      </a:cubicBezTo>
                      <a:cubicBezTo>
                        <a:pt x="42969" y="13909"/>
                        <a:pt x="34632" y="8564"/>
                        <a:pt x="22233" y="8992"/>
                      </a:cubicBezTo>
                      <a:cubicBezTo>
                        <a:pt x="17316" y="9205"/>
                        <a:pt x="13682" y="9633"/>
                        <a:pt x="11758" y="10274"/>
                      </a:cubicBezTo>
                      <a:lnTo>
                        <a:pt x="12399" y="44051"/>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09" name="Graphic 2">
                  <a:extLst>
                    <a:ext uri="{FF2B5EF4-FFF2-40B4-BE49-F238E27FC236}">
                      <a16:creationId xmlns:a16="http://schemas.microsoft.com/office/drawing/2014/main" id="{B6EA0447-C57B-4DC3-B798-81AAD6829670}"/>
                    </a:ext>
                  </a:extLst>
                </p:cNvPr>
                <p:cNvSpPr/>
                <p:nvPr/>
              </p:nvSpPr>
              <p:spPr>
                <a:xfrm>
                  <a:off x="5114843" y="5638052"/>
                  <a:ext cx="8215" cy="9293"/>
                </a:xfrm>
                <a:custGeom>
                  <a:avLst/>
                  <a:gdLst>
                    <a:gd name="connsiteX0" fmla="*/ 79556 w 79585"/>
                    <a:gd name="connsiteY0" fmla="*/ 42986 h 90033"/>
                    <a:gd name="connsiteX1" fmla="*/ 40435 w 79585"/>
                    <a:gd name="connsiteY1" fmla="*/ 90016 h 90033"/>
                    <a:gd name="connsiteX2" fmla="*/ 31 w 79585"/>
                    <a:gd name="connsiteY2" fmla="*/ 46834 h 90033"/>
                    <a:gd name="connsiteX3" fmla="*/ 39152 w 79585"/>
                    <a:gd name="connsiteY3" fmla="*/ 17 h 90033"/>
                    <a:gd name="connsiteX4" fmla="*/ 79556 w 79585"/>
                    <a:gd name="connsiteY4" fmla="*/ 42986 h 90033"/>
                    <a:gd name="connsiteX5" fmla="*/ 12002 w 79585"/>
                    <a:gd name="connsiteY5" fmla="*/ 46192 h 90033"/>
                    <a:gd name="connsiteX6" fmla="*/ 40649 w 79585"/>
                    <a:gd name="connsiteY6" fmla="*/ 80610 h 90033"/>
                    <a:gd name="connsiteX7" fmla="*/ 67584 w 79585"/>
                    <a:gd name="connsiteY7" fmla="*/ 43627 h 90033"/>
                    <a:gd name="connsiteX8" fmla="*/ 38938 w 79585"/>
                    <a:gd name="connsiteY8" fmla="*/ 8995 h 90033"/>
                    <a:gd name="connsiteX9" fmla="*/ 12002 w 79585"/>
                    <a:gd name="connsiteY9" fmla="*/ 46192 h 9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85" h="90033">
                      <a:moveTo>
                        <a:pt x="79556" y="42986"/>
                      </a:moveTo>
                      <a:cubicBezTo>
                        <a:pt x="80411" y="72914"/>
                        <a:pt x="62668" y="89375"/>
                        <a:pt x="40435" y="90016"/>
                      </a:cubicBezTo>
                      <a:cubicBezTo>
                        <a:pt x="17347" y="90658"/>
                        <a:pt x="886" y="73342"/>
                        <a:pt x="31" y="46834"/>
                      </a:cubicBezTo>
                      <a:cubicBezTo>
                        <a:pt x="-824" y="19257"/>
                        <a:pt x="16064" y="658"/>
                        <a:pt x="39152" y="17"/>
                      </a:cubicBezTo>
                      <a:cubicBezTo>
                        <a:pt x="62881" y="-625"/>
                        <a:pt x="78915" y="17119"/>
                        <a:pt x="79556" y="42986"/>
                      </a:cubicBezTo>
                      <a:close/>
                      <a:moveTo>
                        <a:pt x="12002" y="46192"/>
                      </a:moveTo>
                      <a:cubicBezTo>
                        <a:pt x="12430" y="64791"/>
                        <a:pt x="23119" y="81252"/>
                        <a:pt x="40649" y="80610"/>
                      </a:cubicBezTo>
                      <a:cubicBezTo>
                        <a:pt x="58392" y="80183"/>
                        <a:pt x="68012" y="63508"/>
                        <a:pt x="67584" y="43627"/>
                      </a:cubicBezTo>
                      <a:cubicBezTo>
                        <a:pt x="67157" y="26311"/>
                        <a:pt x="57537" y="8568"/>
                        <a:pt x="38938" y="8995"/>
                      </a:cubicBezTo>
                      <a:cubicBezTo>
                        <a:pt x="20340" y="9637"/>
                        <a:pt x="11575" y="27166"/>
                        <a:pt x="12002" y="46192"/>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0" name="Graphic 2">
                  <a:extLst>
                    <a:ext uri="{FF2B5EF4-FFF2-40B4-BE49-F238E27FC236}">
                      <a16:creationId xmlns:a16="http://schemas.microsoft.com/office/drawing/2014/main" id="{297B6EB4-ABAB-481F-BC23-5D47095F8B05}"/>
                    </a:ext>
                  </a:extLst>
                </p:cNvPr>
                <p:cNvSpPr/>
                <p:nvPr/>
              </p:nvSpPr>
              <p:spPr>
                <a:xfrm>
                  <a:off x="5124444" y="5638032"/>
                  <a:ext cx="5252" cy="9003"/>
                </a:xfrm>
                <a:custGeom>
                  <a:avLst/>
                  <a:gdLst>
                    <a:gd name="connsiteX0" fmla="*/ 0 w 50878"/>
                    <a:gd name="connsiteY0" fmla="*/ 214 h 87220"/>
                    <a:gd name="connsiteX1" fmla="*/ 11330 w 50878"/>
                    <a:gd name="connsiteY1" fmla="*/ 0 h 87220"/>
                    <a:gd name="connsiteX2" fmla="*/ 13468 w 50878"/>
                    <a:gd name="connsiteY2" fmla="*/ 77601 h 87220"/>
                    <a:gd name="connsiteX3" fmla="*/ 50665 w 50878"/>
                    <a:gd name="connsiteY3" fmla="*/ 76532 h 87220"/>
                    <a:gd name="connsiteX4" fmla="*/ 50879 w 50878"/>
                    <a:gd name="connsiteY4" fmla="*/ 85938 h 87220"/>
                    <a:gd name="connsiteX5" fmla="*/ 2351 w 50878"/>
                    <a:gd name="connsiteY5" fmla="*/ 87221 h 87220"/>
                    <a:gd name="connsiteX6" fmla="*/ 0 w 50878"/>
                    <a:gd name="connsiteY6" fmla="*/ 214 h 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78" h="87220">
                      <a:moveTo>
                        <a:pt x="0" y="214"/>
                      </a:moveTo>
                      <a:lnTo>
                        <a:pt x="11330" y="0"/>
                      </a:lnTo>
                      <a:lnTo>
                        <a:pt x="13468" y="77601"/>
                      </a:lnTo>
                      <a:lnTo>
                        <a:pt x="50665" y="76532"/>
                      </a:lnTo>
                      <a:lnTo>
                        <a:pt x="50879" y="85938"/>
                      </a:lnTo>
                      <a:lnTo>
                        <a:pt x="2351" y="87221"/>
                      </a:lnTo>
                      <a:lnTo>
                        <a:pt x="0" y="214"/>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1" name="Graphic 2">
                  <a:extLst>
                    <a:ext uri="{FF2B5EF4-FFF2-40B4-BE49-F238E27FC236}">
                      <a16:creationId xmlns:a16="http://schemas.microsoft.com/office/drawing/2014/main" id="{4ADD5725-8F62-4176-8B85-2C03AFA5C602}"/>
                    </a:ext>
                  </a:extLst>
                </p:cNvPr>
                <p:cNvSpPr/>
                <p:nvPr/>
              </p:nvSpPr>
              <p:spPr>
                <a:xfrm>
                  <a:off x="5130733" y="5637833"/>
                  <a:ext cx="1412" cy="9003"/>
                </a:xfrm>
                <a:custGeom>
                  <a:avLst/>
                  <a:gdLst>
                    <a:gd name="connsiteX0" fmla="*/ 11330 w 13681"/>
                    <a:gd name="connsiteY0" fmla="*/ 0 h 87220"/>
                    <a:gd name="connsiteX1" fmla="*/ 13682 w 13681"/>
                    <a:gd name="connsiteY1" fmla="*/ 87007 h 87220"/>
                    <a:gd name="connsiteX2" fmla="*/ 2351 w 13681"/>
                    <a:gd name="connsiteY2" fmla="*/ 87221 h 87220"/>
                    <a:gd name="connsiteX3" fmla="*/ 0 w 13681"/>
                    <a:gd name="connsiteY3" fmla="*/ 213 h 87220"/>
                    <a:gd name="connsiteX4" fmla="*/ 11330 w 13681"/>
                    <a:gd name="connsiteY4" fmla="*/ 0 h 8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1" h="87220">
                      <a:moveTo>
                        <a:pt x="11330" y="0"/>
                      </a:moveTo>
                      <a:lnTo>
                        <a:pt x="13682" y="87007"/>
                      </a:lnTo>
                      <a:lnTo>
                        <a:pt x="2351" y="87221"/>
                      </a:lnTo>
                      <a:lnTo>
                        <a:pt x="0" y="213"/>
                      </a:lnTo>
                      <a:lnTo>
                        <a:pt x="11330" y="0"/>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2" name="Graphic 2">
                  <a:extLst>
                    <a:ext uri="{FF2B5EF4-FFF2-40B4-BE49-F238E27FC236}">
                      <a16:creationId xmlns:a16="http://schemas.microsoft.com/office/drawing/2014/main" id="{453C9395-391E-4180-AFFD-9DC7D98F347C}"/>
                    </a:ext>
                  </a:extLst>
                </p:cNvPr>
                <p:cNvSpPr/>
                <p:nvPr/>
              </p:nvSpPr>
              <p:spPr>
                <a:xfrm>
                  <a:off x="5133511" y="5637501"/>
                  <a:ext cx="6930" cy="9293"/>
                </a:xfrm>
                <a:custGeom>
                  <a:avLst/>
                  <a:gdLst>
                    <a:gd name="connsiteX0" fmla="*/ 67142 w 67142"/>
                    <a:gd name="connsiteY0" fmla="*/ 85311 h 90034"/>
                    <a:gd name="connsiteX1" fmla="*/ 44268 w 67142"/>
                    <a:gd name="connsiteY1" fmla="*/ 90014 h 90034"/>
                    <a:gd name="connsiteX2" fmla="*/ 17 w 67142"/>
                    <a:gd name="connsiteY2" fmla="*/ 47046 h 90034"/>
                    <a:gd name="connsiteX3" fmla="*/ 44268 w 67142"/>
                    <a:gd name="connsiteY3" fmla="*/ 15 h 90034"/>
                    <a:gd name="connsiteX4" fmla="*/ 65005 w 67142"/>
                    <a:gd name="connsiteY4" fmla="*/ 3222 h 90034"/>
                    <a:gd name="connsiteX5" fmla="*/ 62439 w 67142"/>
                    <a:gd name="connsiteY5" fmla="*/ 12414 h 90034"/>
                    <a:gd name="connsiteX6" fmla="*/ 44696 w 67142"/>
                    <a:gd name="connsiteY6" fmla="*/ 9207 h 90034"/>
                    <a:gd name="connsiteX7" fmla="*/ 11774 w 67142"/>
                    <a:gd name="connsiteY7" fmla="*/ 45977 h 90034"/>
                    <a:gd name="connsiteX8" fmla="*/ 46192 w 67142"/>
                    <a:gd name="connsiteY8" fmla="*/ 79967 h 90034"/>
                    <a:gd name="connsiteX9" fmla="*/ 64363 w 67142"/>
                    <a:gd name="connsiteY9" fmla="*/ 75906 h 90034"/>
                    <a:gd name="connsiteX10" fmla="*/ 67142 w 67142"/>
                    <a:gd name="connsiteY10" fmla="*/ 85311 h 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142" h="90034">
                      <a:moveTo>
                        <a:pt x="67142" y="85311"/>
                      </a:moveTo>
                      <a:cubicBezTo>
                        <a:pt x="63081" y="87449"/>
                        <a:pt x="54957" y="89801"/>
                        <a:pt x="44268" y="90014"/>
                      </a:cubicBezTo>
                      <a:cubicBezTo>
                        <a:pt x="19684" y="90656"/>
                        <a:pt x="872" y="75692"/>
                        <a:pt x="17" y="47046"/>
                      </a:cubicBezTo>
                      <a:cubicBezTo>
                        <a:pt x="-625" y="19896"/>
                        <a:pt x="17333" y="870"/>
                        <a:pt x="44268" y="15"/>
                      </a:cubicBezTo>
                      <a:cubicBezTo>
                        <a:pt x="55171" y="-199"/>
                        <a:pt x="62012" y="1939"/>
                        <a:pt x="65005" y="3222"/>
                      </a:cubicBezTo>
                      <a:lnTo>
                        <a:pt x="62439" y="12414"/>
                      </a:lnTo>
                      <a:cubicBezTo>
                        <a:pt x="58164" y="10490"/>
                        <a:pt x="51964" y="8993"/>
                        <a:pt x="44696" y="9207"/>
                      </a:cubicBezTo>
                      <a:cubicBezTo>
                        <a:pt x="24387" y="9848"/>
                        <a:pt x="11133" y="23103"/>
                        <a:pt x="11774" y="45977"/>
                      </a:cubicBezTo>
                      <a:cubicBezTo>
                        <a:pt x="12416" y="67354"/>
                        <a:pt x="25028" y="80608"/>
                        <a:pt x="46192" y="79967"/>
                      </a:cubicBezTo>
                      <a:cubicBezTo>
                        <a:pt x="53033" y="79754"/>
                        <a:pt x="59874" y="78257"/>
                        <a:pt x="64363" y="75906"/>
                      </a:cubicBezTo>
                      <a:lnTo>
                        <a:pt x="67142" y="85311"/>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3" name="Graphic 2">
                  <a:extLst>
                    <a:ext uri="{FF2B5EF4-FFF2-40B4-BE49-F238E27FC236}">
                      <a16:creationId xmlns:a16="http://schemas.microsoft.com/office/drawing/2014/main" id="{275FBC25-5E8B-48D2-9F94-D6E44E543793}"/>
                    </a:ext>
                  </a:extLst>
                </p:cNvPr>
                <p:cNvSpPr/>
                <p:nvPr/>
              </p:nvSpPr>
              <p:spPr>
                <a:xfrm>
                  <a:off x="5141655" y="5637436"/>
                  <a:ext cx="5296" cy="9113"/>
                </a:xfrm>
                <a:custGeom>
                  <a:avLst/>
                  <a:gdLst>
                    <a:gd name="connsiteX0" fmla="*/ 46389 w 51306"/>
                    <a:gd name="connsiteY0" fmla="*/ 46389 h 88289"/>
                    <a:gd name="connsiteX1" fmla="*/ 12613 w 51306"/>
                    <a:gd name="connsiteY1" fmla="*/ 47245 h 88289"/>
                    <a:gd name="connsiteX2" fmla="*/ 13468 w 51306"/>
                    <a:gd name="connsiteY2" fmla="*/ 78670 h 88289"/>
                    <a:gd name="connsiteX3" fmla="*/ 51092 w 51306"/>
                    <a:gd name="connsiteY3" fmla="*/ 77601 h 88289"/>
                    <a:gd name="connsiteX4" fmla="*/ 51306 w 51306"/>
                    <a:gd name="connsiteY4" fmla="*/ 87007 h 88289"/>
                    <a:gd name="connsiteX5" fmla="*/ 2351 w 51306"/>
                    <a:gd name="connsiteY5" fmla="*/ 88290 h 88289"/>
                    <a:gd name="connsiteX6" fmla="*/ 0 w 51306"/>
                    <a:gd name="connsiteY6" fmla="*/ 1283 h 88289"/>
                    <a:gd name="connsiteX7" fmla="*/ 47031 w 51306"/>
                    <a:gd name="connsiteY7" fmla="*/ 0 h 88289"/>
                    <a:gd name="connsiteX8" fmla="*/ 47245 w 51306"/>
                    <a:gd name="connsiteY8" fmla="*/ 9406 h 88289"/>
                    <a:gd name="connsiteX9" fmla="*/ 11544 w 51306"/>
                    <a:gd name="connsiteY9" fmla="*/ 10475 h 88289"/>
                    <a:gd name="connsiteX10" fmla="*/ 12185 w 51306"/>
                    <a:gd name="connsiteY10" fmla="*/ 38052 h 88289"/>
                    <a:gd name="connsiteX11" fmla="*/ 45962 w 51306"/>
                    <a:gd name="connsiteY11" fmla="*/ 37197 h 88289"/>
                    <a:gd name="connsiteX12" fmla="*/ 46389 w 51306"/>
                    <a:gd name="connsiteY12" fmla="*/ 46389 h 8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06" h="88289">
                      <a:moveTo>
                        <a:pt x="46389" y="46389"/>
                      </a:moveTo>
                      <a:lnTo>
                        <a:pt x="12613" y="47245"/>
                      </a:lnTo>
                      <a:lnTo>
                        <a:pt x="13468" y="78670"/>
                      </a:lnTo>
                      <a:lnTo>
                        <a:pt x="51092" y="77601"/>
                      </a:lnTo>
                      <a:lnTo>
                        <a:pt x="51306" y="87007"/>
                      </a:lnTo>
                      <a:lnTo>
                        <a:pt x="2351" y="88290"/>
                      </a:lnTo>
                      <a:lnTo>
                        <a:pt x="0" y="1283"/>
                      </a:lnTo>
                      <a:lnTo>
                        <a:pt x="47031" y="0"/>
                      </a:lnTo>
                      <a:lnTo>
                        <a:pt x="47245" y="9406"/>
                      </a:lnTo>
                      <a:lnTo>
                        <a:pt x="11544" y="10475"/>
                      </a:lnTo>
                      <a:lnTo>
                        <a:pt x="12185" y="38052"/>
                      </a:lnTo>
                      <a:lnTo>
                        <a:pt x="45962" y="37197"/>
                      </a:lnTo>
                      <a:lnTo>
                        <a:pt x="46389" y="46389"/>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4" name="Graphic 2">
                  <a:extLst>
                    <a:ext uri="{FF2B5EF4-FFF2-40B4-BE49-F238E27FC236}">
                      <a16:creationId xmlns:a16="http://schemas.microsoft.com/office/drawing/2014/main" id="{342F3B08-FE7F-47FB-859F-82CB5DCB9EA9}"/>
                    </a:ext>
                  </a:extLst>
                </p:cNvPr>
                <p:cNvSpPr/>
                <p:nvPr/>
              </p:nvSpPr>
              <p:spPr>
                <a:xfrm>
                  <a:off x="5321667" y="5551156"/>
                  <a:ext cx="5606" cy="9115"/>
                </a:xfrm>
                <a:custGeom>
                  <a:avLst/>
                  <a:gdLst>
                    <a:gd name="connsiteX0" fmla="*/ 0 w 54313"/>
                    <a:gd name="connsiteY0" fmla="*/ 2365 h 88303"/>
                    <a:gd name="connsiteX1" fmla="*/ 21591 w 54313"/>
                    <a:gd name="connsiteY1" fmla="*/ 13 h 88303"/>
                    <a:gd name="connsiteX2" fmla="*/ 46176 w 54313"/>
                    <a:gd name="connsiteY2" fmla="*/ 6640 h 88303"/>
                    <a:gd name="connsiteX3" fmla="*/ 54299 w 54313"/>
                    <a:gd name="connsiteY3" fmla="*/ 24598 h 88303"/>
                    <a:gd name="connsiteX4" fmla="*/ 48100 w 54313"/>
                    <a:gd name="connsiteY4" fmla="*/ 43410 h 88303"/>
                    <a:gd name="connsiteX5" fmla="*/ 21805 w 54313"/>
                    <a:gd name="connsiteY5" fmla="*/ 53671 h 88303"/>
                    <a:gd name="connsiteX6" fmla="*/ 12827 w 54313"/>
                    <a:gd name="connsiteY6" fmla="*/ 53244 h 88303"/>
                    <a:gd name="connsiteX7" fmla="*/ 13682 w 54313"/>
                    <a:gd name="connsiteY7" fmla="*/ 88089 h 88303"/>
                    <a:gd name="connsiteX8" fmla="*/ 2351 w 54313"/>
                    <a:gd name="connsiteY8" fmla="*/ 88303 h 88303"/>
                    <a:gd name="connsiteX9" fmla="*/ 0 w 54313"/>
                    <a:gd name="connsiteY9" fmla="*/ 2365 h 88303"/>
                    <a:gd name="connsiteX10" fmla="*/ 12399 w 54313"/>
                    <a:gd name="connsiteY10" fmla="*/ 43838 h 88303"/>
                    <a:gd name="connsiteX11" fmla="*/ 21805 w 54313"/>
                    <a:gd name="connsiteY11" fmla="*/ 44479 h 88303"/>
                    <a:gd name="connsiteX12" fmla="*/ 43183 w 54313"/>
                    <a:gd name="connsiteY12" fmla="*/ 25239 h 88303"/>
                    <a:gd name="connsiteX13" fmla="*/ 22233 w 54313"/>
                    <a:gd name="connsiteY13" fmla="*/ 8778 h 88303"/>
                    <a:gd name="connsiteX14" fmla="*/ 11758 w 54313"/>
                    <a:gd name="connsiteY14" fmla="*/ 10061 h 88303"/>
                    <a:gd name="connsiteX15" fmla="*/ 12399 w 54313"/>
                    <a:gd name="connsiteY15" fmla="*/ 43838 h 8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313" h="88303">
                      <a:moveTo>
                        <a:pt x="0" y="2365"/>
                      </a:moveTo>
                      <a:cubicBezTo>
                        <a:pt x="5344" y="1296"/>
                        <a:pt x="12399" y="441"/>
                        <a:pt x="21591" y="13"/>
                      </a:cubicBezTo>
                      <a:cubicBezTo>
                        <a:pt x="32708" y="-200"/>
                        <a:pt x="40831" y="2151"/>
                        <a:pt x="46176" y="6640"/>
                      </a:cubicBezTo>
                      <a:cubicBezTo>
                        <a:pt x="51093" y="10702"/>
                        <a:pt x="54086" y="16902"/>
                        <a:pt x="54299" y="24598"/>
                      </a:cubicBezTo>
                      <a:cubicBezTo>
                        <a:pt x="54513" y="32507"/>
                        <a:pt x="52375" y="38707"/>
                        <a:pt x="48100" y="43410"/>
                      </a:cubicBezTo>
                      <a:cubicBezTo>
                        <a:pt x="42328" y="49823"/>
                        <a:pt x="32708" y="53457"/>
                        <a:pt x="21805" y="53671"/>
                      </a:cubicBezTo>
                      <a:cubicBezTo>
                        <a:pt x="18385" y="53671"/>
                        <a:pt x="15392" y="53671"/>
                        <a:pt x="12827" y="53244"/>
                      </a:cubicBezTo>
                      <a:lnTo>
                        <a:pt x="13682" y="88089"/>
                      </a:lnTo>
                      <a:lnTo>
                        <a:pt x="2351" y="88303"/>
                      </a:lnTo>
                      <a:lnTo>
                        <a:pt x="0" y="2365"/>
                      </a:lnTo>
                      <a:close/>
                      <a:moveTo>
                        <a:pt x="12399" y="43838"/>
                      </a:moveTo>
                      <a:cubicBezTo>
                        <a:pt x="14964" y="44479"/>
                        <a:pt x="17957" y="44693"/>
                        <a:pt x="21805" y="44479"/>
                      </a:cubicBezTo>
                      <a:cubicBezTo>
                        <a:pt x="35273" y="44051"/>
                        <a:pt x="43397" y="37211"/>
                        <a:pt x="43183" y="25239"/>
                      </a:cubicBezTo>
                      <a:cubicBezTo>
                        <a:pt x="42969" y="13695"/>
                        <a:pt x="34632" y="8351"/>
                        <a:pt x="22233" y="8778"/>
                      </a:cubicBezTo>
                      <a:cubicBezTo>
                        <a:pt x="17316" y="8992"/>
                        <a:pt x="13682" y="9420"/>
                        <a:pt x="11758" y="10061"/>
                      </a:cubicBezTo>
                      <a:lnTo>
                        <a:pt x="12399" y="43838"/>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5" name="Graphic 2">
                  <a:extLst>
                    <a:ext uri="{FF2B5EF4-FFF2-40B4-BE49-F238E27FC236}">
                      <a16:creationId xmlns:a16="http://schemas.microsoft.com/office/drawing/2014/main" id="{829BB34F-EB79-4C42-A290-1264555E5A30}"/>
                    </a:ext>
                  </a:extLst>
                </p:cNvPr>
                <p:cNvSpPr/>
                <p:nvPr/>
              </p:nvSpPr>
              <p:spPr>
                <a:xfrm>
                  <a:off x="5328350" y="5550847"/>
                  <a:ext cx="8215" cy="9293"/>
                </a:xfrm>
                <a:custGeom>
                  <a:avLst/>
                  <a:gdLst>
                    <a:gd name="connsiteX0" fmla="*/ 79556 w 79585"/>
                    <a:gd name="connsiteY0" fmla="*/ 42986 h 90033"/>
                    <a:gd name="connsiteX1" fmla="*/ 40435 w 79585"/>
                    <a:gd name="connsiteY1" fmla="*/ 90017 h 90033"/>
                    <a:gd name="connsiteX2" fmla="*/ 31 w 79585"/>
                    <a:gd name="connsiteY2" fmla="*/ 46834 h 90033"/>
                    <a:gd name="connsiteX3" fmla="*/ 39152 w 79585"/>
                    <a:gd name="connsiteY3" fmla="*/ 17 h 90033"/>
                    <a:gd name="connsiteX4" fmla="*/ 79556 w 79585"/>
                    <a:gd name="connsiteY4" fmla="*/ 42986 h 90033"/>
                    <a:gd name="connsiteX5" fmla="*/ 12002 w 79585"/>
                    <a:gd name="connsiteY5" fmla="*/ 46192 h 90033"/>
                    <a:gd name="connsiteX6" fmla="*/ 40649 w 79585"/>
                    <a:gd name="connsiteY6" fmla="*/ 80611 h 90033"/>
                    <a:gd name="connsiteX7" fmla="*/ 67584 w 79585"/>
                    <a:gd name="connsiteY7" fmla="*/ 43627 h 90033"/>
                    <a:gd name="connsiteX8" fmla="*/ 38938 w 79585"/>
                    <a:gd name="connsiteY8" fmla="*/ 8996 h 90033"/>
                    <a:gd name="connsiteX9" fmla="*/ 12002 w 79585"/>
                    <a:gd name="connsiteY9" fmla="*/ 46192 h 9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85" h="90033">
                      <a:moveTo>
                        <a:pt x="79556" y="42986"/>
                      </a:moveTo>
                      <a:cubicBezTo>
                        <a:pt x="80411" y="72914"/>
                        <a:pt x="62667" y="89375"/>
                        <a:pt x="40435" y="90017"/>
                      </a:cubicBezTo>
                      <a:cubicBezTo>
                        <a:pt x="17347" y="90658"/>
                        <a:pt x="886" y="73342"/>
                        <a:pt x="31" y="46834"/>
                      </a:cubicBezTo>
                      <a:cubicBezTo>
                        <a:pt x="-824" y="19257"/>
                        <a:pt x="16064" y="658"/>
                        <a:pt x="39152" y="17"/>
                      </a:cubicBezTo>
                      <a:cubicBezTo>
                        <a:pt x="62881" y="-624"/>
                        <a:pt x="78914" y="17119"/>
                        <a:pt x="79556" y="42986"/>
                      </a:cubicBezTo>
                      <a:close/>
                      <a:moveTo>
                        <a:pt x="12002" y="46192"/>
                      </a:moveTo>
                      <a:cubicBezTo>
                        <a:pt x="12430" y="64791"/>
                        <a:pt x="23119" y="81252"/>
                        <a:pt x="40649" y="80611"/>
                      </a:cubicBezTo>
                      <a:cubicBezTo>
                        <a:pt x="58392" y="80183"/>
                        <a:pt x="68012" y="63509"/>
                        <a:pt x="67584" y="43627"/>
                      </a:cubicBezTo>
                      <a:cubicBezTo>
                        <a:pt x="67157" y="26311"/>
                        <a:pt x="57537" y="8568"/>
                        <a:pt x="38938" y="8996"/>
                      </a:cubicBezTo>
                      <a:cubicBezTo>
                        <a:pt x="20340" y="9637"/>
                        <a:pt x="11575" y="27167"/>
                        <a:pt x="12002" y="46192"/>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6" name="Graphic 2">
                  <a:extLst>
                    <a:ext uri="{FF2B5EF4-FFF2-40B4-BE49-F238E27FC236}">
                      <a16:creationId xmlns:a16="http://schemas.microsoft.com/office/drawing/2014/main" id="{7A45B526-8840-4A90-9BE1-A7909B53783B}"/>
                    </a:ext>
                  </a:extLst>
                </p:cNvPr>
                <p:cNvSpPr/>
                <p:nvPr/>
              </p:nvSpPr>
              <p:spPr>
                <a:xfrm>
                  <a:off x="5337951" y="5550827"/>
                  <a:ext cx="5252" cy="9003"/>
                </a:xfrm>
                <a:custGeom>
                  <a:avLst/>
                  <a:gdLst>
                    <a:gd name="connsiteX0" fmla="*/ 0 w 50878"/>
                    <a:gd name="connsiteY0" fmla="*/ 214 h 87220"/>
                    <a:gd name="connsiteX1" fmla="*/ 11330 w 50878"/>
                    <a:gd name="connsiteY1" fmla="*/ 0 h 87220"/>
                    <a:gd name="connsiteX2" fmla="*/ 13468 w 50878"/>
                    <a:gd name="connsiteY2" fmla="*/ 77601 h 87220"/>
                    <a:gd name="connsiteX3" fmla="*/ 50665 w 50878"/>
                    <a:gd name="connsiteY3" fmla="*/ 76532 h 87220"/>
                    <a:gd name="connsiteX4" fmla="*/ 50879 w 50878"/>
                    <a:gd name="connsiteY4" fmla="*/ 85938 h 87220"/>
                    <a:gd name="connsiteX5" fmla="*/ 2351 w 50878"/>
                    <a:gd name="connsiteY5" fmla="*/ 87221 h 87220"/>
                    <a:gd name="connsiteX6" fmla="*/ 0 w 50878"/>
                    <a:gd name="connsiteY6" fmla="*/ 214 h 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78" h="87220">
                      <a:moveTo>
                        <a:pt x="0" y="214"/>
                      </a:moveTo>
                      <a:lnTo>
                        <a:pt x="11330" y="0"/>
                      </a:lnTo>
                      <a:lnTo>
                        <a:pt x="13468" y="77601"/>
                      </a:lnTo>
                      <a:lnTo>
                        <a:pt x="50665" y="76532"/>
                      </a:lnTo>
                      <a:lnTo>
                        <a:pt x="50879" y="85938"/>
                      </a:lnTo>
                      <a:lnTo>
                        <a:pt x="2351" y="87221"/>
                      </a:lnTo>
                      <a:lnTo>
                        <a:pt x="0" y="214"/>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7" name="Graphic 2">
                  <a:extLst>
                    <a:ext uri="{FF2B5EF4-FFF2-40B4-BE49-F238E27FC236}">
                      <a16:creationId xmlns:a16="http://schemas.microsoft.com/office/drawing/2014/main" id="{43E9D373-5A6B-4F86-8BC9-4AD94EB694A7}"/>
                    </a:ext>
                  </a:extLst>
                </p:cNvPr>
                <p:cNvSpPr/>
                <p:nvPr/>
              </p:nvSpPr>
              <p:spPr>
                <a:xfrm>
                  <a:off x="5344240" y="5550650"/>
                  <a:ext cx="1412" cy="9003"/>
                </a:xfrm>
                <a:custGeom>
                  <a:avLst/>
                  <a:gdLst>
                    <a:gd name="connsiteX0" fmla="*/ 11330 w 13681"/>
                    <a:gd name="connsiteY0" fmla="*/ 0 h 87220"/>
                    <a:gd name="connsiteX1" fmla="*/ 13681 w 13681"/>
                    <a:gd name="connsiteY1" fmla="*/ 87007 h 87220"/>
                    <a:gd name="connsiteX2" fmla="*/ 2351 w 13681"/>
                    <a:gd name="connsiteY2" fmla="*/ 87221 h 87220"/>
                    <a:gd name="connsiteX3" fmla="*/ 0 w 13681"/>
                    <a:gd name="connsiteY3" fmla="*/ 214 h 87220"/>
                    <a:gd name="connsiteX4" fmla="*/ 11330 w 13681"/>
                    <a:gd name="connsiteY4" fmla="*/ 0 h 8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1" h="87220">
                      <a:moveTo>
                        <a:pt x="11330" y="0"/>
                      </a:moveTo>
                      <a:lnTo>
                        <a:pt x="13681" y="87007"/>
                      </a:lnTo>
                      <a:lnTo>
                        <a:pt x="2351" y="87221"/>
                      </a:lnTo>
                      <a:lnTo>
                        <a:pt x="0" y="214"/>
                      </a:lnTo>
                      <a:lnTo>
                        <a:pt x="11330" y="0"/>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8" name="Graphic 2">
                  <a:extLst>
                    <a:ext uri="{FF2B5EF4-FFF2-40B4-BE49-F238E27FC236}">
                      <a16:creationId xmlns:a16="http://schemas.microsoft.com/office/drawing/2014/main" id="{F0FEBB59-F3B6-41BC-9458-EC4BE43C6DBA}"/>
                    </a:ext>
                  </a:extLst>
                </p:cNvPr>
                <p:cNvSpPr/>
                <p:nvPr/>
              </p:nvSpPr>
              <p:spPr>
                <a:xfrm>
                  <a:off x="5347018" y="5550296"/>
                  <a:ext cx="6930" cy="9293"/>
                </a:xfrm>
                <a:custGeom>
                  <a:avLst/>
                  <a:gdLst>
                    <a:gd name="connsiteX0" fmla="*/ 67142 w 67142"/>
                    <a:gd name="connsiteY0" fmla="*/ 85312 h 90034"/>
                    <a:gd name="connsiteX1" fmla="*/ 44268 w 67142"/>
                    <a:gd name="connsiteY1" fmla="*/ 90015 h 90034"/>
                    <a:gd name="connsiteX2" fmla="*/ 17 w 67142"/>
                    <a:gd name="connsiteY2" fmla="*/ 47046 h 90034"/>
                    <a:gd name="connsiteX3" fmla="*/ 44268 w 67142"/>
                    <a:gd name="connsiteY3" fmla="*/ 15 h 90034"/>
                    <a:gd name="connsiteX4" fmla="*/ 65005 w 67142"/>
                    <a:gd name="connsiteY4" fmla="*/ 3222 h 90034"/>
                    <a:gd name="connsiteX5" fmla="*/ 62439 w 67142"/>
                    <a:gd name="connsiteY5" fmla="*/ 12414 h 90034"/>
                    <a:gd name="connsiteX6" fmla="*/ 44696 w 67142"/>
                    <a:gd name="connsiteY6" fmla="*/ 9207 h 90034"/>
                    <a:gd name="connsiteX7" fmla="*/ 11774 w 67142"/>
                    <a:gd name="connsiteY7" fmla="*/ 45977 h 90034"/>
                    <a:gd name="connsiteX8" fmla="*/ 46192 w 67142"/>
                    <a:gd name="connsiteY8" fmla="*/ 79967 h 90034"/>
                    <a:gd name="connsiteX9" fmla="*/ 64363 w 67142"/>
                    <a:gd name="connsiteY9" fmla="*/ 75905 h 90034"/>
                    <a:gd name="connsiteX10" fmla="*/ 67142 w 67142"/>
                    <a:gd name="connsiteY10" fmla="*/ 85312 h 9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142" h="90034">
                      <a:moveTo>
                        <a:pt x="67142" y="85312"/>
                      </a:moveTo>
                      <a:cubicBezTo>
                        <a:pt x="63081" y="87449"/>
                        <a:pt x="54957" y="89801"/>
                        <a:pt x="44268" y="90015"/>
                      </a:cubicBezTo>
                      <a:cubicBezTo>
                        <a:pt x="19684" y="90656"/>
                        <a:pt x="872" y="75692"/>
                        <a:pt x="17" y="47046"/>
                      </a:cubicBezTo>
                      <a:cubicBezTo>
                        <a:pt x="-625" y="19896"/>
                        <a:pt x="17332" y="870"/>
                        <a:pt x="44268" y="15"/>
                      </a:cubicBezTo>
                      <a:cubicBezTo>
                        <a:pt x="55171" y="-199"/>
                        <a:pt x="62012" y="1939"/>
                        <a:pt x="65005" y="3222"/>
                      </a:cubicBezTo>
                      <a:lnTo>
                        <a:pt x="62439" y="12414"/>
                      </a:lnTo>
                      <a:cubicBezTo>
                        <a:pt x="58164" y="10490"/>
                        <a:pt x="51964" y="8994"/>
                        <a:pt x="44696" y="9207"/>
                      </a:cubicBezTo>
                      <a:cubicBezTo>
                        <a:pt x="24387" y="9849"/>
                        <a:pt x="11133" y="23103"/>
                        <a:pt x="11774" y="45977"/>
                      </a:cubicBezTo>
                      <a:cubicBezTo>
                        <a:pt x="12416" y="67354"/>
                        <a:pt x="25028" y="80609"/>
                        <a:pt x="46192" y="79967"/>
                      </a:cubicBezTo>
                      <a:cubicBezTo>
                        <a:pt x="53033" y="79754"/>
                        <a:pt x="59874" y="78257"/>
                        <a:pt x="64363" y="75905"/>
                      </a:cubicBezTo>
                      <a:lnTo>
                        <a:pt x="67142" y="85312"/>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19" name="Graphic 2">
                  <a:extLst>
                    <a:ext uri="{FF2B5EF4-FFF2-40B4-BE49-F238E27FC236}">
                      <a16:creationId xmlns:a16="http://schemas.microsoft.com/office/drawing/2014/main" id="{89E29CF8-7929-4835-B105-FA15E2787E86}"/>
                    </a:ext>
                  </a:extLst>
                </p:cNvPr>
                <p:cNvSpPr/>
                <p:nvPr/>
              </p:nvSpPr>
              <p:spPr>
                <a:xfrm>
                  <a:off x="5355162" y="5550231"/>
                  <a:ext cx="5296" cy="9113"/>
                </a:xfrm>
                <a:custGeom>
                  <a:avLst/>
                  <a:gdLst>
                    <a:gd name="connsiteX0" fmla="*/ 46389 w 51306"/>
                    <a:gd name="connsiteY0" fmla="*/ 46389 h 88289"/>
                    <a:gd name="connsiteX1" fmla="*/ 12613 w 51306"/>
                    <a:gd name="connsiteY1" fmla="*/ 47245 h 88289"/>
                    <a:gd name="connsiteX2" fmla="*/ 13468 w 51306"/>
                    <a:gd name="connsiteY2" fmla="*/ 78670 h 88289"/>
                    <a:gd name="connsiteX3" fmla="*/ 51092 w 51306"/>
                    <a:gd name="connsiteY3" fmla="*/ 77601 h 88289"/>
                    <a:gd name="connsiteX4" fmla="*/ 51306 w 51306"/>
                    <a:gd name="connsiteY4" fmla="*/ 87007 h 88289"/>
                    <a:gd name="connsiteX5" fmla="*/ 2351 w 51306"/>
                    <a:gd name="connsiteY5" fmla="*/ 88289 h 88289"/>
                    <a:gd name="connsiteX6" fmla="*/ 0 w 51306"/>
                    <a:gd name="connsiteY6" fmla="*/ 1283 h 88289"/>
                    <a:gd name="connsiteX7" fmla="*/ 47031 w 51306"/>
                    <a:gd name="connsiteY7" fmla="*/ 0 h 88289"/>
                    <a:gd name="connsiteX8" fmla="*/ 47245 w 51306"/>
                    <a:gd name="connsiteY8" fmla="*/ 9406 h 88289"/>
                    <a:gd name="connsiteX9" fmla="*/ 11544 w 51306"/>
                    <a:gd name="connsiteY9" fmla="*/ 10475 h 88289"/>
                    <a:gd name="connsiteX10" fmla="*/ 12185 w 51306"/>
                    <a:gd name="connsiteY10" fmla="*/ 38052 h 88289"/>
                    <a:gd name="connsiteX11" fmla="*/ 45962 w 51306"/>
                    <a:gd name="connsiteY11" fmla="*/ 37197 h 88289"/>
                    <a:gd name="connsiteX12" fmla="*/ 46389 w 51306"/>
                    <a:gd name="connsiteY12" fmla="*/ 46389 h 8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06" h="88289">
                      <a:moveTo>
                        <a:pt x="46389" y="46389"/>
                      </a:moveTo>
                      <a:lnTo>
                        <a:pt x="12613" y="47245"/>
                      </a:lnTo>
                      <a:lnTo>
                        <a:pt x="13468" y="78670"/>
                      </a:lnTo>
                      <a:lnTo>
                        <a:pt x="51092" y="77601"/>
                      </a:lnTo>
                      <a:lnTo>
                        <a:pt x="51306" y="87007"/>
                      </a:lnTo>
                      <a:lnTo>
                        <a:pt x="2351" y="88289"/>
                      </a:lnTo>
                      <a:lnTo>
                        <a:pt x="0" y="1283"/>
                      </a:lnTo>
                      <a:lnTo>
                        <a:pt x="47031" y="0"/>
                      </a:lnTo>
                      <a:lnTo>
                        <a:pt x="47245" y="9406"/>
                      </a:lnTo>
                      <a:lnTo>
                        <a:pt x="11544" y="10475"/>
                      </a:lnTo>
                      <a:lnTo>
                        <a:pt x="12185" y="38052"/>
                      </a:lnTo>
                      <a:lnTo>
                        <a:pt x="45962" y="37197"/>
                      </a:lnTo>
                      <a:lnTo>
                        <a:pt x="46389" y="46389"/>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0" name="Graphic 2">
                  <a:extLst>
                    <a:ext uri="{FF2B5EF4-FFF2-40B4-BE49-F238E27FC236}">
                      <a16:creationId xmlns:a16="http://schemas.microsoft.com/office/drawing/2014/main" id="{6268F07A-ECC8-4304-A4E2-E8962CFA52E4}"/>
                    </a:ext>
                  </a:extLst>
                </p:cNvPr>
                <p:cNvSpPr/>
                <p:nvPr/>
              </p:nvSpPr>
              <p:spPr>
                <a:xfrm>
                  <a:off x="5305802" y="5368431"/>
                  <a:ext cx="20232" cy="32084"/>
                </a:xfrm>
                <a:custGeom>
                  <a:avLst/>
                  <a:gdLst>
                    <a:gd name="connsiteX0" fmla="*/ 180000 w 196008"/>
                    <a:gd name="connsiteY0" fmla="*/ 51306 h 310830"/>
                    <a:gd name="connsiteX1" fmla="*/ 195178 w 196008"/>
                    <a:gd name="connsiteY1" fmla="*/ 180427 h 310830"/>
                    <a:gd name="connsiteX2" fmla="*/ 180000 w 196008"/>
                    <a:gd name="connsiteY2" fmla="*/ 310831 h 310830"/>
                    <a:gd name="connsiteX3" fmla="*/ 36770 w 196008"/>
                    <a:gd name="connsiteY3" fmla="*/ 299501 h 310830"/>
                    <a:gd name="connsiteX4" fmla="*/ 0 w 196008"/>
                    <a:gd name="connsiteY4" fmla="*/ 51306 h 310830"/>
                    <a:gd name="connsiteX5" fmla="*/ 180000 w 196008"/>
                    <a:gd name="connsiteY5" fmla="*/ 51306 h 31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008" h="310830">
                      <a:moveTo>
                        <a:pt x="180000" y="51306"/>
                      </a:moveTo>
                      <a:cubicBezTo>
                        <a:pt x="180000" y="51306"/>
                        <a:pt x="200309" y="126128"/>
                        <a:pt x="195178" y="180427"/>
                      </a:cubicBezTo>
                      <a:cubicBezTo>
                        <a:pt x="190047" y="234726"/>
                        <a:pt x="180000" y="310831"/>
                        <a:pt x="180000" y="310831"/>
                      </a:cubicBezTo>
                      <a:lnTo>
                        <a:pt x="36770" y="299501"/>
                      </a:lnTo>
                      <a:lnTo>
                        <a:pt x="0" y="51306"/>
                      </a:lnTo>
                      <a:cubicBezTo>
                        <a:pt x="214" y="51306"/>
                        <a:pt x="53230" y="-64133"/>
                        <a:pt x="180000" y="51306"/>
                      </a:cubicBez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1" name="Graphic 2">
                  <a:extLst>
                    <a:ext uri="{FF2B5EF4-FFF2-40B4-BE49-F238E27FC236}">
                      <a16:creationId xmlns:a16="http://schemas.microsoft.com/office/drawing/2014/main" id="{1996BA2C-E33D-4695-9ED4-D99E37A9C61F}"/>
                    </a:ext>
                  </a:extLst>
                </p:cNvPr>
                <p:cNvSpPr/>
                <p:nvPr/>
              </p:nvSpPr>
              <p:spPr>
                <a:xfrm>
                  <a:off x="5178593" y="5365871"/>
                  <a:ext cx="138065" cy="45500"/>
                </a:xfrm>
                <a:custGeom>
                  <a:avLst/>
                  <a:gdLst>
                    <a:gd name="connsiteX0" fmla="*/ 1337599 w 1337598"/>
                    <a:gd name="connsiteY0" fmla="*/ 0 h 440806"/>
                    <a:gd name="connsiteX1" fmla="*/ 1261708 w 1337598"/>
                    <a:gd name="connsiteY1" fmla="*/ 440807 h 440806"/>
                    <a:gd name="connsiteX2" fmla="*/ 277268 w 1337598"/>
                    <a:gd name="connsiteY2" fmla="*/ 440807 h 440806"/>
                    <a:gd name="connsiteX3" fmla="*/ 0 w 1337598"/>
                    <a:gd name="connsiteY3" fmla="*/ 0 h 440806"/>
                  </a:gdLst>
                  <a:ahLst/>
                  <a:cxnLst>
                    <a:cxn ang="0">
                      <a:pos x="connsiteX0" y="connsiteY0"/>
                    </a:cxn>
                    <a:cxn ang="0">
                      <a:pos x="connsiteX1" y="connsiteY1"/>
                    </a:cxn>
                    <a:cxn ang="0">
                      <a:pos x="connsiteX2" y="connsiteY2"/>
                    </a:cxn>
                    <a:cxn ang="0">
                      <a:pos x="connsiteX3" y="connsiteY3"/>
                    </a:cxn>
                  </a:cxnLst>
                  <a:rect l="l" t="t" r="r" b="b"/>
                  <a:pathLst>
                    <a:path w="1337598" h="440806">
                      <a:moveTo>
                        <a:pt x="1337599" y="0"/>
                      </a:moveTo>
                      <a:lnTo>
                        <a:pt x="1261708" y="440807"/>
                      </a:lnTo>
                      <a:lnTo>
                        <a:pt x="277268" y="440807"/>
                      </a:lnTo>
                      <a:lnTo>
                        <a:pt x="0"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2" name="Graphic 2">
                  <a:extLst>
                    <a:ext uri="{FF2B5EF4-FFF2-40B4-BE49-F238E27FC236}">
                      <a16:creationId xmlns:a16="http://schemas.microsoft.com/office/drawing/2014/main" id="{88243E62-7D68-4869-AA89-AD5FFD81771B}"/>
                    </a:ext>
                  </a:extLst>
                </p:cNvPr>
                <p:cNvSpPr/>
                <p:nvPr/>
              </p:nvSpPr>
              <p:spPr>
                <a:xfrm>
                  <a:off x="5497200" y="5579888"/>
                  <a:ext cx="30495" cy="24294"/>
                </a:xfrm>
                <a:custGeom>
                  <a:avLst/>
                  <a:gdLst>
                    <a:gd name="connsiteX0" fmla="*/ 295439 w 295438"/>
                    <a:gd name="connsiteY0" fmla="*/ 0 h 235367"/>
                    <a:gd name="connsiteX1" fmla="*/ 295439 w 295438"/>
                    <a:gd name="connsiteY1" fmla="*/ 220404 h 235367"/>
                    <a:gd name="connsiteX2" fmla="*/ 0 w 295438"/>
                    <a:gd name="connsiteY2" fmla="*/ 235368 h 235367"/>
                    <a:gd name="connsiteX3" fmla="*/ 0 w 295438"/>
                    <a:gd name="connsiteY3" fmla="*/ 12185 h 235367"/>
                  </a:gdLst>
                  <a:ahLst/>
                  <a:cxnLst>
                    <a:cxn ang="0">
                      <a:pos x="connsiteX0" y="connsiteY0"/>
                    </a:cxn>
                    <a:cxn ang="0">
                      <a:pos x="connsiteX1" y="connsiteY1"/>
                    </a:cxn>
                    <a:cxn ang="0">
                      <a:pos x="connsiteX2" y="connsiteY2"/>
                    </a:cxn>
                    <a:cxn ang="0">
                      <a:pos x="connsiteX3" y="connsiteY3"/>
                    </a:cxn>
                  </a:cxnLst>
                  <a:rect l="l" t="t" r="r" b="b"/>
                  <a:pathLst>
                    <a:path w="295438" h="235367">
                      <a:moveTo>
                        <a:pt x="295439" y="0"/>
                      </a:moveTo>
                      <a:lnTo>
                        <a:pt x="295439" y="220404"/>
                      </a:lnTo>
                      <a:lnTo>
                        <a:pt x="0" y="235368"/>
                      </a:lnTo>
                      <a:lnTo>
                        <a:pt x="0" y="12185"/>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3" name="Graphic 2">
                  <a:extLst>
                    <a:ext uri="{FF2B5EF4-FFF2-40B4-BE49-F238E27FC236}">
                      <a16:creationId xmlns:a16="http://schemas.microsoft.com/office/drawing/2014/main" id="{A6A930AB-A0DD-4172-87A7-61834113FD45}"/>
                    </a:ext>
                  </a:extLst>
                </p:cNvPr>
                <p:cNvSpPr/>
                <p:nvPr/>
              </p:nvSpPr>
              <p:spPr>
                <a:xfrm>
                  <a:off x="5497200" y="5602638"/>
                  <a:ext cx="30495" cy="48280"/>
                </a:xfrm>
                <a:custGeom>
                  <a:avLst/>
                  <a:gdLst>
                    <a:gd name="connsiteX0" fmla="*/ 0 w 295438"/>
                    <a:gd name="connsiteY0" fmla="*/ 467743 h 467742"/>
                    <a:gd name="connsiteX1" fmla="*/ 295439 w 295438"/>
                    <a:gd name="connsiteY1" fmla="*/ 448930 h 467742"/>
                    <a:gd name="connsiteX2" fmla="*/ 295439 w 295438"/>
                    <a:gd name="connsiteY2" fmla="*/ 0 h 467742"/>
                    <a:gd name="connsiteX3" fmla="*/ 0 w 295438"/>
                    <a:gd name="connsiteY3" fmla="*/ 14964 h 467742"/>
                  </a:gdLst>
                  <a:ahLst/>
                  <a:cxnLst>
                    <a:cxn ang="0">
                      <a:pos x="connsiteX0" y="connsiteY0"/>
                    </a:cxn>
                    <a:cxn ang="0">
                      <a:pos x="connsiteX1" y="connsiteY1"/>
                    </a:cxn>
                    <a:cxn ang="0">
                      <a:pos x="connsiteX2" y="connsiteY2"/>
                    </a:cxn>
                    <a:cxn ang="0">
                      <a:pos x="connsiteX3" y="connsiteY3"/>
                    </a:cxn>
                  </a:cxnLst>
                  <a:rect l="l" t="t" r="r" b="b"/>
                  <a:pathLst>
                    <a:path w="295438" h="467742">
                      <a:moveTo>
                        <a:pt x="0" y="467743"/>
                      </a:moveTo>
                      <a:lnTo>
                        <a:pt x="295439" y="448930"/>
                      </a:lnTo>
                      <a:lnTo>
                        <a:pt x="295439" y="0"/>
                      </a:lnTo>
                      <a:lnTo>
                        <a:pt x="0" y="14964"/>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4" name="Graphic 2">
                  <a:extLst>
                    <a:ext uri="{FF2B5EF4-FFF2-40B4-BE49-F238E27FC236}">
                      <a16:creationId xmlns:a16="http://schemas.microsoft.com/office/drawing/2014/main" id="{798F4B4B-6596-4117-94DA-F75BDF358909}"/>
                    </a:ext>
                  </a:extLst>
                </p:cNvPr>
                <p:cNvSpPr/>
                <p:nvPr/>
              </p:nvSpPr>
              <p:spPr>
                <a:xfrm>
                  <a:off x="5527695" y="5601446"/>
                  <a:ext cx="43160" cy="45323"/>
                </a:xfrm>
                <a:custGeom>
                  <a:avLst/>
                  <a:gdLst>
                    <a:gd name="connsiteX0" fmla="*/ 418147 w 418146"/>
                    <a:gd name="connsiteY0" fmla="*/ 0 h 439096"/>
                    <a:gd name="connsiteX1" fmla="*/ 0 w 418146"/>
                    <a:gd name="connsiteY1" fmla="*/ 11544 h 439096"/>
                    <a:gd name="connsiteX2" fmla="*/ 0 w 418146"/>
                    <a:gd name="connsiteY2" fmla="*/ 439097 h 439096"/>
                    <a:gd name="connsiteX3" fmla="*/ 418147 w 418146"/>
                    <a:gd name="connsiteY3" fmla="*/ 427125 h 439096"/>
                  </a:gdLst>
                  <a:ahLst/>
                  <a:cxnLst>
                    <a:cxn ang="0">
                      <a:pos x="connsiteX0" y="connsiteY0"/>
                    </a:cxn>
                    <a:cxn ang="0">
                      <a:pos x="connsiteX1" y="connsiteY1"/>
                    </a:cxn>
                    <a:cxn ang="0">
                      <a:pos x="connsiteX2" y="connsiteY2"/>
                    </a:cxn>
                    <a:cxn ang="0">
                      <a:pos x="connsiteX3" y="connsiteY3"/>
                    </a:cxn>
                  </a:cxnLst>
                  <a:rect l="l" t="t" r="r" b="b"/>
                  <a:pathLst>
                    <a:path w="418146" h="439096">
                      <a:moveTo>
                        <a:pt x="418147" y="0"/>
                      </a:moveTo>
                      <a:lnTo>
                        <a:pt x="0" y="11544"/>
                      </a:lnTo>
                      <a:lnTo>
                        <a:pt x="0" y="439097"/>
                      </a:lnTo>
                      <a:lnTo>
                        <a:pt x="418147" y="427125"/>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5" name="Graphic 2">
                  <a:extLst>
                    <a:ext uri="{FF2B5EF4-FFF2-40B4-BE49-F238E27FC236}">
                      <a16:creationId xmlns:a16="http://schemas.microsoft.com/office/drawing/2014/main" id="{EB22CDDD-D29C-4773-BB64-EF066D4AF1C8}"/>
                    </a:ext>
                  </a:extLst>
                </p:cNvPr>
                <p:cNvSpPr/>
                <p:nvPr/>
              </p:nvSpPr>
              <p:spPr>
                <a:xfrm>
                  <a:off x="5527695" y="5597519"/>
                  <a:ext cx="43160" cy="5119"/>
                </a:xfrm>
                <a:custGeom>
                  <a:avLst/>
                  <a:gdLst>
                    <a:gd name="connsiteX0" fmla="*/ 0 w 418146"/>
                    <a:gd name="connsiteY0" fmla="*/ 0 h 49595"/>
                    <a:gd name="connsiteX1" fmla="*/ 262517 w 418146"/>
                    <a:gd name="connsiteY1" fmla="*/ 0 h 49595"/>
                    <a:gd name="connsiteX2" fmla="*/ 418147 w 418146"/>
                    <a:gd name="connsiteY2" fmla="*/ 38052 h 49595"/>
                    <a:gd name="connsiteX3" fmla="*/ 0 w 418146"/>
                    <a:gd name="connsiteY3" fmla="*/ 49596 h 49595"/>
                  </a:gdLst>
                  <a:ahLst/>
                  <a:cxnLst>
                    <a:cxn ang="0">
                      <a:pos x="connsiteX0" y="connsiteY0"/>
                    </a:cxn>
                    <a:cxn ang="0">
                      <a:pos x="connsiteX1" y="connsiteY1"/>
                    </a:cxn>
                    <a:cxn ang="0">
                      <a:pos x="connsiteX2" y="connsiteY2"/>
                    </a:cxn>
                    <a:cxn ang="0">
                      <a:pos x="connsiteX3" y="connsiteY3"/>
                    </a:cxn>
                  </a:cxnLst>
                  <a:rect l="l" t="t" r="r" b="b"/>
                  <a:pathLst>
                    <a:path w="418146" h="49595">
                      <a:moveTo>
                        <a:pt x="0" y="0"/>
                      </a:moveTo>
                      <a:lnTo>
                        <a:pt x="262517" y="0"/>
                      </a:lnTo>
                      <a:lnTo>
                        <a:pt x="418147" y="38052"/>
                      </a:lnTo>
                      <a:lnTo>
                        <a:pt x="0" y="49596"/>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6" name="Graphic 2">
                  <a:extLst>
                    <a:ext uri="{FF2B5EF4-FFF2-40B4-BE49-F238E27FC236}">
                      <a16:creationId xmlns:a16="http://schemas.microsoft.com/office/drawing/2014/main" id="{5AF64DC1-C29D-4AD8-B454-102FE13F0E86}"/>
                    </a:ext>
                  </a:extLst>
                </p:cNvPr>
                <p:cNvSpPr/>
                <p:nvPr/>
              </p:nvSpPr>
              <p:spPr>
                <a:xfrm>
                  <a:off x="5308428" y="5399345"/>
                  <a:ext cx="15953" cy="5803"/>
                </a:xfrm>
                <a:custGeom>
                  <a:avLst/>
                  <a:gdLst>
                    <a:gd name="connsiteX0" fmla="*/ 154560 w 154560"/>
                    <a:gd name="connsiteY0" fmla="*/ 11330 h 56223"/>
                    <a:gd name="connsiteX1" fmla="*/ 154560 w 154560"/>
                    <a:gd name="connsiteY1" fmla="*/ 56223 h 56223"/>
                    <a:gd name="connsiteX2" fmla="*/ 0 w 154560"/>
                    <a:gd name="connsiteY2" fmla="*/ 49810 h 56223"/>
                    <a:gd name="connsiteX3" fmla="*/ 11330 w 154560"/>
                    <a:gd name="connsiteY3" fmla="*/ 0 h 56223"/>
                  </a:gdLst>
                  <a:ahLst/>
                  <a:cxnLst>
                    <a:cxn ang="0">
                      <a:pos x="connsiteX0" y="connsiteY0"/>
                    </a:cxn>
                    <a:cxn ang="0">
                      <a:pos x="connsiteX1" y="connsiteY1"/>
                    </a:cxn>
                    <a:cxn ang="0">
                      <a:pos x="connsiteX2" y="connsiteY2"/>
                    </a:cxn>
                    <a:cxn ang="0">
                      <a:pos x="connsiteX3" y="connsiteY3"/>
                    </a:cxn>
                  </a:cxnLst>
                  <a:rect l="l" t="t" r="r" b="b"/>
                  <a:pathLst>
                    <a:path w="154560" h="56223">
                      <a:moveTo>
                        <a:pt x="154560" y="11330"/>
                      </a:moveTo>
                      <a:lnTo>
                        <a:pt x="154560" y="56223"/>
                      </a:lnTo>
                      <a:lnTo>
                        <a:pt x="0" y="49810"/>
                      </a:lnTo>
                      <a:lnTo>
                        <a:pt x="11330" y="0"/>
                      </a:ln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7" name="Graphic 2">
                  <a:extLst>
                    <a:ext uri="{FF2B5EF4-FFF2-40B4-BE49-F238E27FC236}">
                      <a16:creationId xmlns:a16="http://schemas.microsoft.com/office/drawing/2014/main" id="{8238CC7D-F15A-40F2-8470-E162DB002A67}"/>
                    </a:ext>
                  </a:extLst>
                </p:cNvPr>
                <p:cNvSpPr/>
                <p:nvPr/>
              </p:nvSpPr>
              <p:spPr>
                <a:xfrm>
                  <a:off x="5304964" y="5404025"/>
                  <a:ext cx="19418" cy="27912"/>
                </a:xfrm>
                <a:custGeom>
                  <a:avLst/>
                  <a:gdLst>
                    <a:gd name="connsiteX0" fmla="*/ 188123 w 188123"/>
                    <a:gd name="connsiteY0" fmla="*/ 10889 h 270412"/>
                    <a:gd name="connsiteX1" fmla="*/ 188123 w 188123"/>
                    <a:gd name="connsiteY1" fmla="*/ 270413 h 270412"/>
                    <a:gd name="connsiteX2" fmla="*/ 113301 w 188123"/>
                    <a:gd name="connsiteY2" fmla="*/ 270413 h 270412"/>
                    <a:gd name="connsiteX3" fmla="*/ 106033 w 188123"/>
                    <a:gd name="connsiteY3" fmla="*/ 115853 h 270412"/>
                    <a:gd name="connsiteX4" fmla="*/ 50023 w 188123"/>
                    <a:gd name="connsiteY4" fmla="*/ 270413 h 270412"/>
                    <a:gd name="connsiteX5" fmla="*/ 0 w 188123"/>
                    <a:gd name="connsiteY5" fmla="*/ 270413 h 270412"/>
                    <a:gd name="connsiteX6" fmla="*/ 8123 w 188123"/>
                    <a:gd name="connsiteY6" fmla="*/ 200 h 270412"/>
                    <a:gd name="connsiteX7" fmla="*/ 188123 w 188123"/>
                    <a:gd name="connsiteY7" fmla="*/ 10889 h 270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23" h="270412">
                      <a:moveTo>
                        <a:pt x="188123" y="10889"/>
                      </a:moveTo>
                      <a:lnTo>
                        <a:pt x="188123" y="270413"/>
                      </a:lnTo>
                      <a:lnTo>
                        <a:pt x="113301" y="270413"/>
                      </a:lnTo>
                      <a:lnTo>
                        <a:pt x="106033" y="115853"/>
                      </a:lnTo>
                      <a:lnTo>
                        <a:pt x="50023" y="270413"/>
                      </a:lnTo>
                      <a:lnTo>
                        <a:pt x="0" y="270413"/>
                      </a:lnTo>
                      <a:lnTo>
                        <a:pt x="8123" y="200"/>
                      </a:lnTo>
                      <a:cubicBezTo>
                        <a:pt x="8337" y="200"/>
                        <a:pt x="177220" y="-2366"/>
                        <a:pt x="188123" y="10889"/>
                      </a:cubicBez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8" name="Graphic 2">
                  <a:extLst>
                    <a:ext uri="{FF2B5EF4-FFF2-40B4-BE49-F238E27FC236}">
                      <a16:creationId xmlns:a16="http://schemas.microsoft.com/office/drawing/2014/main" id="{A65662FC-B25E-4BC6-AFE3-26C91121F5FD}"/>
                    </a:ext>
                  </a:extLst>
                </p:cNvPr>
                <p:cNvSpPr/>
                <p:nvPr/>
              </p:nvSpPr>
              <p:spPr>
                <a:xfrm>
                  <a:off x="5320917" y="5370880"/>
                  <a:ext cx="15624" cy="20041"/>
                </a:xfrm>
                <a:custGeom>
                  <a:avLst/>
                  <a:gdLst>
                    <a:gd name="connsiteX0" fmla="*/ 91924 w 151372"/>
                    <a:gd name="connsiteY0" fmla="*/ 0 h 194163"/>
                    <a:gd name="connsiteX1" fmla="*/ 145154 w 151372"/>
                    <a:gd name="connsiteY1" fmla="*/ 171876 h 194163"/>
                    <a:gd name="connsiteX2" fmla="*/ 19881 w 151372"/>
                    <a:gd name="connsiteY2" fmla="*/ 154560 h 194163"/>
                    <a:gd name="connsiteX3" fmla="*/ 0 w 151372"/>
                    <a:gd name="connsiteY3" fmla="*/ 29074 h 194163"/>
                    <a:gd name="connsiteX4" fmla="*/ 91924 w 151372"/>
                    <a:gd name="connsiteY4" fmla="*/ 0 h 194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372" h="194163">
                      <a:moveTo>
                        <a:pt x="91924" y="0"/>
                      </a:moveTo>
                      <a:cubicBezTo>
                        <a:pt x="91924" y="0"/>
                        <a:pt x="174228" y="113088"/>
                        <a:pt x="145154" y="171876"/>
                      </a:cubicBezTo>
                      <a:cubicBezTo>
                        <a:pt x="116081" y="230665"/>
                        <a:pt x="19881" y="154560"/>
                        <a:pt x="19881" y="154560"/>
                      </a:cubicBezTo>
                      <a:lnTo>
                        <a:pt x="0" y="29074"/>
                      </a:lnTo>
                      <a:lnTo>
                        <a:pt x="91924" y="0"/>
                      </a:ln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29" name="Graphic 2">
                  <a:extLst>
                    <a:ext uri="{FF2B5EF4-FFF2-40B4-BE49-F238E27FC236}">
                      <a16:creationId xmlns:a16="http://schemas.microsoft.com/office/drawing/2014/main" id="{B7CBDE50-7435-47A9-B8CF-5FD2E902E324}"/>
                    </a:ext>
                  </a:extLst>
                </p:cNvPr>
                <p:cNvSpPr/>
                <p:nvPr/>
              </p:nvSpPr>
              <p:spPr>
                <a:xfrm>
                  <a:off x="5319858" y="5364150"/>
                  <a:ext cx="10283" cy="11276"/>
                </a:xfrm>
                <a:custGeom>
                  <a:avLst/>
                  <a:gdLst>
                    <a:gd name="connsiteX0" fmla="*/ 99620 w 99619"/>
                    <a:gd name="connsiteY0" fmla="*/ 77601 h 109239"/>
                    <a:gd name="connsiteX1" fmla="*/ 69263 w 99619"/>
                    <a:gd name="connsiteY1" fmla="*/ 0 h 109239"/>
                    <a:gd name="connsiteX2" fmla="*/ 0 w 99619"/>
                    <a:gd name="connsiteY2" fmla="*/ 49382 h 109239"/>
                    <a:gd name="connsiteX3" fmla="*/ 36128 w 99619"/>
                    <a:gd name="connsiteY3" fmla="*/ 109240 h 109239"/>
                    <a:gd name="connsiteX4" fmla="*/ 99620 w 99619"/>
                    <a:gd name="connsiteY4" fmla="*/ 77601 h 109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19" h="109239">
                      <a:moveTo>
                        <a:pt x="99620" y="77601"/>
                      </a:moveTo>
                      <a:lnTo>
                        <a:pt x="69263" y="0"/>
                      </a:lnTo>
                      <a:lnTo>
                        <a:pt x="0" y="49382"/>
                      </a:lnTo>
                      <a:cubicBezTo>
                        <a:pt x="0" y="49382"/>
                        <a:pt x="27577" y="109240"/>
                        <a:pt x="36128" y="109240"/>
                      </a:cubicBezTo>
                      <a:cubicBezTo>
                        <a:pt x="44679" y="109240"/>
                        <a:pt x="99620" y="77601"/>
                        <a:pt x="99620" y="77601"/>
                      </a:cubicBezTo>
                      <a:close/>
                    </a:path>
                  </a:pathLst>
                </a:custGeom>
                <a:solidFill>
                  <a:srgbClr val="D96930"/>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0" name="Graphic 2">
                  <a:extLst>
                    <a:ext uri="{FF2B5EF4-FFF2-40B4-BE49-F238E27FC236}">
                      <a16:creationId xmlns:a16="http://schemas.microsoft.com/office/drawing/2014/main" id="{5943301A-9DF4-4119-B6F7-F3049C1F85FD}"/>
                    </a:ext>
                  </a:extLst>
                </p:cNvPr>
                <p:cNvSpPr/>
                <p:nvPr/>
              </p:nvSpPr>
              <p:spPr>
                <a:xfrm>
                  <a:off x="5115485" y="5661234"/>
                  <a:ext cx="20874" cy="18623"/>
                </a:xfrm>
                <a:custGeom>
                  <a:avLst/>
                  <a:gdLst>
                    <a:gd name="connsiteX0" fmla="*/ 104964 w 202232"/>
                    <a:gd name="connsiteY0" fmla="*/ 321 h 180426"/>
                    <a:gd name="connsiteX1" fmla="*/ 97268 w 202232"/>
                    <a:gd name="connsiteY1" fmla="*/ 321 h 180426"/>
                    <a:gd name="connsiteX2" fmla="*/ 0 w 202232"/>
                    <a:gd name="connsiteY2" fmla="*/ 63599 h 180426"/>
                    <a:gd name="connsiteX3" fmla="*/ 83800 w 202232"/>
                    <a:gd name="connsiteY3" fmla="*/ 174334 h 180426"/>
                    <a:gd name="connsiteX4" fmla="*/ 118432 w 202232"/>
                    <a:gd name="connsiteY4" fmla="*/ 174334 h 180426"/>
                    <a:gd name="connsiteX5" fmla="*/ 202232 w 202232"/>
                    <a:gd name="connsiteY5" fmla="*/ 63599 h 180426"/>
                    <a:gd name="connsiteX6" fmla="*/ 104964 w 202232"/>
                    <a:gd name="connsiteY6" fmla="*/ 321 h 18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232" h="180426">
                      <a:moveTo>
                        <a:pt x="104964" y="321"/>
                      </a:moveTo>
                      <a:cubicBezTo>
                        <a:pt x="102399" y="-107"/>
                        <a:pt x="99834" y="-107"/>
                        <a:pt x="97268" y="321"/>
                      </a:cubicBezTo>
                      <a:cubicBezTo>
                        <a:pt x="78883" y="2886"/>
                        <a:pt x="0" y="16568"/>
                        <a:pt x="0" y="63599"/>
                      </a:cubicBezTo>
                      <a:cubicBezTo>
                        <a:pt x="0" y="102719"/>
                        <a:pt x="54940" y="151460"/>
                        <a:pt x="83800" y="174334"/>
                      </a:cubicBezTo>
                      <a:cubicBezTo>
                        <a:pt x="94062" y="182458"/>
                        <a:pt x="108171" y="182458"/>
                        <a:pt x="118432" y="174334"/>
                      </a:cubicBezTo>
                      <a:cubicBezTo>
                        <a:pt x="147292" y="151460"/>
                        <a:pt x="202232" y="102719"/>
                        <a:pt x="202232" y="63599"/>
                      </a:cubicBezTo>
                      <a:cubicBezTo>
                        <a:pt x="202232" y="16781"/>
                        <a:pt x="123349" y="2886"/>
                        <a:pt x="104964" y="321"/>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1" name="Graphic 2">
                  <a:extLst>
                    <a:ext uri="{FF2B5EF4-FFF2-40B4-BE49-F238E27FC236}">
                      <a16:creationId xmlns:a16="http://schemas.microsoft.com/office/drawing/2014/main" id="{B8A9059E-F4F6-479A-886D-B7E07BC84BAA}"/>
                    </a:ext>
                  </a:extLst>
                </p:cNvPr>
                <p:cNvSpPr/>
                <p:nvPr/>
              </p:nvSpPr>
              <p:spPr>
                <a:xfrm>
                  <a:off x="5116898" y="5662508"/>
                  <a:ext cx="18050" cy="16097"/>
                </a:xfrm>
                <a:custGeom>
                  <a:avLst/>
                  <a:gdLst>
                    <a:gd name="connsiteX0" fmla="*/ 90855 w 174869"/>
                    <a:gd name="connsiteY0" fmla="*/ 160 h 155949"/>
                    <a:gd name="connsiteX1" fmla="*/ 84228 w 174869"/>
                    <a:gd name="connsiteY1" fmla="*/ 160 h 155949"/>
                    <a:gd name="connsiteX2" fmla="*/ 0 w 174869"/>
                    <a:gd name="connsiteY2" fmla="*/ 54887 h 155949"/>
                    <a:gd name="connsiteX3" fmla="*/ 72470 w 174869"/>
                    <a:gd name="connsiteY3" fmla="*/ 150659 h 155949"/>
                    <a:gd name="connsiteX4" fmla="*/ 102399 w 174869"/>
                    <a:gd name="connsiteY4" fmla="*/ 150659 h 155949"/>
                    <a:gd name="connsiteX5" fmla="*/ 174869 w 174869"/>
                    <a:gd name="connsiteY5" fmla="*/ 54887 h 155949"/>
                    <a:gd name="connsiteX6" fmla="*/ 90855 w 174869"/>
                    <a:gd name="connsiteY6" fmla="*/ 160 h 15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869" h="155949">
                      <a:moveTo>
                        <a:pt x="90855" y="160"/>
                      </a:moveTo>
                      <a:cubicBezTo>
                        <a:pt x="88717" y="-53"/>
                        <a:pt x="86366" y="-53"/>
                        <a:pt x="84228" y="160"/>
                      </a:cubicBezTo>
                      <a:cubicBezTo>
                        <a:pt x="68408" y="2298"/>
                        <a:pt x="0" y="14270"/>
                        <a:pt x="0" y="54887"/>
                      </a:cubicBezTo>
                      <a:cubicBezTo>
                        <a:pt x="0" y="88664"/>
                        <a:pt x="47458" y="130778"/>
                        <a:pt x="72470" y="150659"/>
                      </a:cubicBezTo>
                      <a:cubicBezTo>
                        <a:pt x="81235" y="157713"/>
                        <a:pt x="93634" y="157713"/>
                        <a:pt x="102399" y="150659"/>
                      </a:cubicBezTo>
                      <a:cubicBezTo>
                        <a:pt x="127411" y="130778"/>
                        <a:pt x="174869" y="88664"/>
                        <a:pt x="174869" y="54887"/>
                      </a:cubicBezTo>
                      <a:cubicBezTo>
                        <a:pt x="174869" y="14270"/>
                        <a:pt x="106674" y="2512"/>
                        <a:pt x="90855" y="160"/>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2" name="Graphic 2">
                  <a:extLst>
                    <a:ext uri="{FF2B5EF4-FFF2-40B4-BE49-F238E27FC236}">
                      <a16:creationId xmlns:a16="http://schemas.microsoft.com/office/drawing/2014/main" id="{C2825509-2872-41A9-A857-4181F715D323}"/>
                    </a:ext>
                  </a:extLst>
                </p:cNvPr>
                <p:cNvSpPr/>
                <p:nvPr/>
              </p:nvSpPr>
              <p:spPr>
                <a:xfrm>
                  <a:off x="5122000" y="5665575"/>
                  <a:ext cx="7822" cy="4363"/>
                </a:xfrm>
                <a:custGeom>
                  <a:avLst/>
                  <a:gdLst>
                    <a:gd name="connsiteX0" fmla="*/ 73272 w 75783"/>
                    <a:gd name="connsiteY0" fmla="*/ 42275 h 42274"/>
                    <a:gd name="connsiteX1" fmla="*/ 71134 w 75783"/>
                    <a:gd name="connsiteY1" fmla="*/ 41419 h 42274"/>
                    <a:gd name="connsiteX2" fmla="*/ 37999 w 75783"/>
                    <a:gd name="connsiteY2" fmla="*/ 7215 h 42274"/>
                    <a:gd name="connsiteX3" fmla="*/ 4863 w 75783"/>
                    <a:gd name="connsiteY3" fmla="*/ 41419 h 42274"/>
                    <a:gd name="connsiteX4" fmla="*/ 802 w 75783"/>
                    <a:gd name="connsiteY4" fmla="*/ 41419 h 42274"/>
                    <a:gd name="connsiteX5" fmla="*/ 802 w 75783"/>
                    <a:gd name="connsiteY5" fmla="*/ 37144 h 42274"/>
                    <a:gd name="connsiteX6" fmla="*/ 35861 w 75783"/>
                    <a:gd name="connsiteY6" fmla="*/ 802 h 42274"/>
                    <a:gd name="connsiteX7" fmla="*/ 39923 w 75783"/>
                    <a:gd name="connsiteY7" fmla="*/ 802 h 42274"/>
                    <a:gd name="connsiteX8" fmla="*/ 74982 w 75783"/>
                    <a:gd name="connsiteY8" fmla="*/ 37144 h 42274"/>
                    <a:gd name="connsiteX9" fmla="*/ 74982 w 75783"/>
                    <a:gd name="connsiteY9" fmla="*/ 41419 h 42274"/>
                    <a:gd name="connsiteX10" fmla="*/ 73272 w 75783"/>
                    <a:gd name="connsiteY10" fmla="*/ 42275 h 4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783" h="42274">
                      <a:moveTo>
                        <a:pt x="73272" y="42275"/>
                      </a:moveTo>
                      <a:cubicBezTo>
                        <a:pt x="72631" y="42275"/>
                        <a:pt x="71775" y="42061"/>
                        <a:pt x="71134" y="41419"/>
                      </a:cubicBezTo>
                      <a:lnTo>
                        <a:pt x="37999" y="7215"/>
                      </a:lnTo>
                      <a:lnTo>
                        <a:pt x="4863" y="41419"/>
                      </a:lnTo>
                      <a:cubicBezTo>
                        <a:pt x="3795" y="42488"/>
                        <a:pt x="1871" y="42488"/>
                        <a:pt x="802" y="41419"/>
                      </a:cubicBezTo>
                      <a:cubicBezTo>
                        <a:pt x="-267" y="40350"/>
                        <a:pt x="-267" y="38427"/>
                        <a:pt x="802" y="37144"/>
                      </a:cubicBezTo>
                      <a:lnTo>
                        <a:pt x="35861" y="802"/>
                      </a:lnTo>
                      <a:cubicBezTo>
                        <a:pt x="36930" y="-267"/>
                        <a:pt x="38854" y="-267"/>
                        <a:pt x="39923" y="802"/>
                      </a:cubicBezTo>
                      <a:lnTo>
                        <a:pt x="74982" y="37144"/>
                      </a:lnTo>
                      <a:cubicBezTo>
                        <a:pt x="76051" y="38213"/>
                        <a:pt x="76051" y="40137"/>
                        <a:pt x="74982" y="41419"/>
                      </a:cubicBezTo>
                      <a:cubicBezTo>
                        <a:pt x="74768" y="41847"/>
                        <a:pt x="73913" y="42275"/>
                        <a:pt x="73272" y="42275"/>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3" name="Graphic 2">
                  <a:extLst>
                    <a:ext uri="{FF2B5EF4-FFF2-40B4-BE49-F238E27FC236}">
                      <a16:creationId xmlns:a16="http://schemas.microsoft.com/office/drawing/2014/main" id="{E9351467-5A44-46BC-BC7C-E9438CA70D69}"/>
                    </a:ext>
                  </a:extLst>
                </p:cNvPr>
                <p:cNvSpPr/>
                <p:nvPr/>
              </p:nvSpPr>
              <p:spPr>
                <a:xfrm>
                  <a:off x="5122000" y="5668797"/>
                  <a:ext cx="7822" cy="4363"/>
                </a:xfrm>
                <a:custGeom>
                  <a:avLst/>
                  <a:gdLst>
                    <a:gd name="connsiteX0" fmla="*/ 73272 w 75783"/>
                    <a:gd name="connsiteY0" fmla="*/ 42274 h 42274"/>
                    <a:gd name="connsiteX1" fmla="*/ 71134 w 75783"/>
                    <a:gd name="connsiteY1" fmla="*/ 41419 h 42274"/>
                    <a:gd name="connsiteX2" fmla="*/ 37999 w 75783"/>
                    <a:gd name="connsiteY2" fmla="*/ 7215 h 42274"/>
                    <a:gd name="connsiteX3" fmla="*/ 4863 w 75783"/>
                    <a:gd name="connsiteY3" fmla="*/ 41419 h 42274"/>
                    <a:gd name="connsiteX4" fmla="*/ 802 w 75783"/>
                    <a:gd name="connsiteY4" fmla="*/ 41419 h 42274"/>
                    <a:gd name="connsiteX5" fmla="*/ 802 w 75783"/>
                    <a:gd name="connsiteY5" fmla="*/ 37144 h 42274"/>
                    <a:gd name="connsiteX6" fmla="*/ 35861 w 75783"/>
                    <a:gd name="connsiteY6" fmla="*/ 802 h 42274"/>
                    <a:gd name="connsiteX7" fmla="*/ 39923 w 75783"/>
                    <a:gd name="connsiteY7" fmla="*/ 802 h 42274"/>
                    <a:gd name="connsiteX8" fmla="*/ 74982 w 75783"/>
                    <a:gd name="connsiteY8" fmla="*/ 37144 h 42274"/>
                    <a:gd name="connsiteX9" fmla="*/ 74982 w 75783"/>
                    <a:gd name="connsiteY9" fmla="*/ 41419 h 42274"/>
                    <a:gd name="connsiteX10" fmla="*/ 73272 w 75783"/>
                    <a:gd name="connsiteY10" fmla="*/ 42274 h 4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783" h="42274">
                      <a:moveTo>
                        <a:pt x="73272" y="42274"/>
                      </a:moveTo>
                      <a:cubicBezTo>
                        <a:pt x="72631" y="42274"/>
                        <a:pt x="71775" y="42061"/>
                        <a:pt x="71134" y="41419"/>
                      </a:cubicBezTo>
                      <a:lnTo>
                        <a:pt x="37999" y="7215"/>
                      </a:lnTo>
                      <a:lnTo>
                        <a:pt x="4863" y="41419"/>
                      </a:lnTo>
                      <a:cubicBezTo>
                        <a:pt x="3795" y="42488"/>
                        <a:pt x="1871" y="42488"/>
                        <a:pt x="802" y="41419"/>
                      </a:cubicBezTo>
                      <a:cubicBezTo>
                        <a:pt x="-267" y="40350"/>
                        <a:pt x="-267" y="38427"/>
                        <a:pt x="802" y="37144"/>
                      </a:cubicBezTo>
                      <a:lnTo>
                        <a:pt x="35861" y="802"/>
                      </a:lnTo>
                      <a:cubicBezTo>
                        <a:pt x="36930" y="-267"/>
                        <a:pt x="38854" y="-267"/>
                        <a:pt x="39923" y="802"/>
                      </a:cubicBezTo>
                      <a:lnTo>
                        <a:pt x="74982" y="37144"/>
                      </a:lnTo>
                      <a:cubicBezTo>
                        <a:pt x="76051" y="38213"/>
                        <a:pt x="76051" y="40136"/>
                        <a:pt x="74982" y="41419"/>
                      </a:cubicBezTo>
                      <a:cubicBezTo>
                        <a:pt x="74768" y="41847"/>
                        <a:pt x="73913" y="42274"/>
                        <a:pt x="73272" y="42274"/>
                      </a:cubicBez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4" name="Graphic 2">
                  <a:extLst>
                    <a:ext uri="{FF2B5EF4-FFF2-40B4-BE49-F238E27FC236}">
                      <a16:creationId xmlns:a16="http://schemas.microsoft.com/office/drawing/2014/main" id="{9EAE4BAA-052C-4FAA-A123-C7C6735AE4D3}"/>
                    </a:ext>
                  </a:extLst>
                </p:cNvPr>
                <p:cNvSpPr/>
                <p:nvPr/>
              </p:nvSpPr>
              <p:spPr>
                <a:xfrm>
                  <a:off x="5049001" y="5415983"/>
                  <a:ext cx="17123" cy="6796"/>
                </a:xfrm>
                <a:custGeom>
                  <a:avLst/>
                  <a:gdLst>
                    <a:gd name="connsiteX0" fmla="*/ 0 w 165890"/>
                    <a:gd name="connsiteY0" fmla="*/ 0 h 65843"/>
                    <a:gd name="connsiteX1" fmla="*/ 165890 w 165890"/>
                    <a:gd name="connsiteY1" fmla="*/ 0 h 65843"/>
                    <a:gd name="connsiteX2" fmla="*/ 165890 w 165890"/>
                    <a:gd name="connsiteY2" fmla="*/ 65843 h 65843"/>
                    <a:gd name="connsiteX3" fmla="*/ 0 w 165890"/>
                    <a:gd name="connsiteY3" fmla="*/ 65843 h 65843"/>
                  </a:gdLst>
                  <a:ahLst/>
                  <a:cxnLst>
                    <a:cxn ang="0">
                      <a:pos x="connsiteX0" y="connsiteY0"/>
                    </a:cxn>
                    <a:cxn ang="0">
                      <a:pos x="connsiteX1" y="connsiteY1"/>
                    </a:cxn>
                    <a:cxn ang="0">
                      <a:pos x="connsiteX2" y="connsiteY2"/>
                    </a:cxn>
                    <a:cxn ang="0">
                      <a:pos x="connsiteX3" y="connsiteY3"/>
                    </a:cxn>
                  </a:cxnLst>
                  <a:rect l="l" t="t" r="r" b="b"/>
                  <a:pathLst>
                    <a:path w="165890" h="65843">
                      <a:moveTo>
                        <a:pt x="0" y="0"/>
                      </a:moveTo>
                      <a:lnTo>
                        <a:pt x="165890" y="0"/>
                      </a:lnTo>
                      <a:lnTo>
                        <a:pt x="165890" y="65843"/>
                      </a:lnTo>
                      <a:lnTo>
                        <a:pt x="0" y="65843"/>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5" name="Graphic 2">
                  <a:extLst>
                    <a:ext uri="{FF2B5EF4-FFF2-40B4-BE49-F238E27FC236}">
                      <a16:creationId xmlns:a16="http://schemas.microsoft.com/office/drawing/2014/main" id="{D8FAE086-35C1-463A-8FAB-5A582D9257F3}"/>
                    </a:ext>
                  </a:extLst>
                </p:cNvPr>
                <p:cNvSpPr/>
                <p:nvPr/>
              </p:nvSpPr>
              <p:spPr>
                <a:xfrm>
                  <a:off x="5083336" y="5415608"/>
                  <a:ext cx="19462" cy="7723"/>
                </a:xfrm>
                <a:custGeom>
                  <a:avLst/>
                  <a:gdLst>
                    <a:gd name="connsiteX0" fmla="*/ 0 w 188550"/>
                    <a:gd name="connsiteY0" fmla="*/ 0 h 74821"/>
                    <a:gd name="connsiteX1" fmla="*/ 188551 w 188550"/>
                    <a:gd name="connsiteY1" fmla="*/ 0 h 74821"/>
                    <a:gd name="connsiteX2" fmla="*/ 188551 w 188550"/>
                    <a:gd name="connsiteY2" fmla="*/ 74822 h 74821"/>
                    <a:gd name="connsiteX3" fmla="*/ 0 w 188550"/>
                    <a:gd name="connsiteY3" fmla="*/ 74822 h 74821"/>
                  </a:gdLst>
                  <a:ahLst/>
                  <a:cxnLst>
                    <a:cxn ang="0">
                      <a:pos x="connsiteX0" y="connsiteY0"/>
                    </a:cxn>
                    <a:cxn ang="0">
                      <a:pos x="connsiteX1" y="connsiteY1"/>
                    </a:cxn>
                    <a:cxn ang="0">
                      <a:pos x="connsiteX2" y="connsiteY2"/>
                    </a:cxn>
                    <a:cxn ang="0">
                      <a:pos x="connsiteX3" y="connsiteY3"/>
                    </a:cxn>
                  </a:cxnLst>
                  <a:rect l="l" t="t" r="r" b="b"/>
                  <a:pathLst>
                    <a:path w="188550" h="74821">
                      <a:moveTo>
                        <a:pt x="0" y="0"/>
                      </a:moveTo>
                      <a:lnTo>
                        <a:pt x="188551" y="0"/>
                      </a:lnTo>
                      <a:lnTo>
                        <a:pt x="188551" y="74822"/>
                      </a:lnTo>
                      <a:lnTo>
                        <a:pt x="0" y="74822"/>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6" name="Graphic 2">
                  <a:extLst>
                    <a:ext uri="{FF2B5EF4-FFF2-40B4-BE49-F238E27FC236}">
                      <a16:creationId xmlns:a16="http://schemas.microsoft.com/office/drawing/2014/main" id="{ACC8D40C-4C73-4F86-A9EF-44A816DCE3FA}"/>
                    </a:ext>
                  </a:extLst>
                </p:cNvPr>
                <p:cNvSpPr/>
                <p:nvPr/>
              </p:nvSpPr>
              <p:spPr>
                <a:xfrm>
                  <a:off x="5715761" y="5418410"/>
                  <a:ext cx="16042" cy="6377"/>
                </a:xfrm>
                <a:custGeom>
                  <a:avLst/>
                  <a:gdLst>
                    <a:gd name="connsiteX0" fmla="*/ 0 w 155415"/>
                    <a:gd name="connsiteY0" fmla="*/ 0 h 61781"/>
                    <a:gd name="connsiteX1" fmla="*/ 155415 w 155415"/>
                    <a:gd name="connsiteY1" fmla="*/ 0 h 61781"/>
                    <a:gd name="connsiteX2" fmla="*/ 155415 w 155415"/>
                    <a:gd name="connsiteY2" fmla="*/ 61781 h 61781"/>
                    <a:gd name="connsiteX3" fmla="*/ 0 w 155415"/>
                    <a:gd name="connsiteY3" fmla="*/ 61781 h 61781"/>
                  </a:gdLst>
                  <a:ahLst/>
                  <a:cxnLst>
                    <a:cxn ang="0">
                      <a:pos x="connsiteX0" y="connsiteY0"/>
                    </a:cxn>
                    <a:cxn ang="0">
                      <a:pos x="connsiteX1" y="connsiteY1"/>
                    </a:cxn>
                    <a:cxn ang="0">
                      <a:pos x="connsiteX2" y="connsiteY2"/>
                    </a:cxn>
                    <a:cxn ang="0">
                      <a:pos x="connsiteX3" y="connsiteY3"/>
                    </a:cxn>
                  </a:cxnLst>
                  <a:rect l="l" t="t" r="r" b="b"/>
                  <a:pathLst>
                    <a:path w="155415" h="61781">
                      <a:moveTo>
                        <a:pt x="0" y="0"/>
                      </a:moveTo>
                      <a:lnTo>
                        <a:pt x="155415" y="0"/>
                      </a:lnTo>
                      <a:lnTo>
                        <a:pt x="155415" y="61781"/>
                      </a:lnTo>
                      <a:lnTo>
                        <a:pt x="0" y="61781"/>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7" name="Graphic 2">
                  <a:extLst>
                    <a:ext uri="{FF2B5EF4-FFF2-40B4-BE49-F238E27FC236}">
                      <a16:creationId xmlns:a16="http://schemas.microsoft.com/office/drawing/2014/main" id="{77739B68-2C4B-4EE0-BB5E-FACF25F66B1A}"/>
                    </a:ext>
                  </a:extLst>
                </p:cNvPr>
                <p:cNvSpPr/>
                <p:nvPr/>
              </p:nvSpPr>
              <p:spPr>
                <a:xfrm>
                  <a:off x="5832025" y="5416777"/>
                  <a:ext cx="17211" cy="6818"/>
                </a:xfrm>
                <a:custGeom>
                  <a:avLst/>
                  <a:gdLst>
                    <a:gd name="connsiteX0" fmla="*/ 0 w 166745"/>
                    <a:gd name="connsiteY0" fmla="*/ 0 h 66056"/>
                    <a:gd name="connsiteX1" fmla="*/ 166745 w 166745"/>
                    <a:gd name="connsiteY1" fmla="*/ 0 h 66056"/>
                    <a:gd name="connsiteX2" fmla="*/ 166745 w 166745"/>
                    <a:gd name="connsiteY2" fmla="*/ 66057 h 66056"/>
                    <a:gd name="connsiteX3" fmla="*/ 0 w 166745"/>
                    <a:gd name="connsiteY3" fmla="*/ 66057 h 66056"/>
                  </a:gdLst>
                  <a:ahLst/>
                  <a:cxnLst>
                    <a:cxn ang="0">
                      <a:pos x="connsiteX0" y="connsiteY0"/>
                    </a:cxn>
                    <a:cxn ang="0">
                      <a:pos x="connsiteX1" y="connsiteY1"/>
                    </a:cxn>
                    <a:cxn ang="0">
                      <a:pos x="connsiteX2" y="connsiteY2"/>
                    </a:cxn>
                    <a:cxn ang="0">
                      <a:pos x="connsiteX3" y="connsiteY3"/>
                    </a:cxn>
                  </a:cxnLst>
                  <a:rect l="l" t="t" r="r" b="b"/>
                  <a:pathLst>
                    <a:path w="166745" h="66056">
                      <a:moveTo>
                        <a:pt x="0" y="0"/>
                      </a:moveTo>
                      <a:lnTo>
                        <a:pt x="166745" y="0"/>
                      </a:lnTo>
                      <a:lnTo>
                        <a:pt x="166745" y="66057"/>
                      </a:lnTo>
                      <a:lnTo>
                        <a:pt x="0" y="66057"/>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8" name="Graphic 2">
                  <a:extLst>
                    <a:ext uri="{FF2B5EF4-FFF2-40B4-BE49-F238E27FC236}">
                      <a16:creationId xmlns:a16="http://schemas.microsoft.com/office/drawing/2014/main" id="{D24D772B-6B11-47A3-B86C-E4373BCEFAE5}"/>
                    </a:ext>
                  </a:extLst>
                </p:cNvPr>
                <p:cNvSpPr/>
                <p:nvPr/>
              </p:nvSpPr>
              <p:spPr>
                <a:xfrm>
                  <a:off x="5590014" y="5334400"/>
                  <a:ext cx="32101" cy="26463"/>
                </a:xfrm>
                <a:custGeom>
                  <a:avLst/>
                  <a:gdLst>
                    <a:gd name="connsiteX0" fmla="*/ 11281 w 311000"/>
                    <a:gd name="connsiteY0" fmla="*/ 19081 h 256375"/>
                    <a:gd name="connsiteX1" fmla="*/ 4013 w 311000"/>
                    <a:gd name="connsiteY1" fmla="*/ 144567 h 256375"/>
                    <a:gd name="connsiteX2" fmla="*/ 204535 w 311000"/>
                    <a:gd name="connsiteY2" fmla="*/ 239484 h 256375"/>
                    <a:gd name="connsiteX3" fmla="*/ 310996 w 311000"/>
                    <a:gd name="connsiteY3" fmla="*/ 112073 h 256375"/>
                    <a:gd name="connsiteX4" fmla="*/ 11281 w 311000"/>
                    <a:gd name="connsiteY4" fmla="*/ 19081 h 25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1000" h="256375">
                      <a:moveTo>
                        <a:pt x="11281" y="19081"/>
                      </a:moveTo>
                      <a:cubicBezTo>
                        <a:pt x="11281" y="19081"/>
                        <a:pt x="-8173" y="101812"/>
                        <a:pt x="4013" y="144567"/>
                      </a:cubicBezTo>
                      <a:cubicBezTo>
                        <a:pt x="16412" y="187323"/>
                        <a:pt x="50616" y="298487"/>
                        <a:pt x="204535" y="239484"/>
                      </a:cubicBezTo>
                      <a:cubicBezTo>
                        <a:pt x="204535" y="239484"/>
                        <a:pt x="311851" y="199508"/>
                        <a:pt x="310996" y="112073"/>
                      </a:cubicBezTo>
                      <a:cubicBezTo>
                        <a:pt x="309927" y="24639"/>
                        <a:pt x="70711" y="-31370"/>
                        <a:pt x="11281" y="19081"/>
                      </a:cubicBezTo>
                      <a:close/>
                    </a:path>
                  </a:pathLst>
                </a:custGeom>
                <a:solidFill>
                  <a:srgbClr val="D96930"/>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39" name="Graphic 2">
                  <a:extLst>
                    <a:ext uri="{FF2B5EF4-FFF2-40B4-BE49-F238E27FC236}">
                      <a16:creationId xmlns:a16="http://schemas.microsoft.com/office/drawing/2014/main" id="{73880746-4176-4279-A771-21EE38268C27}"/>
                    </a:ext>
                  </a:extLst>
                </p:cNvPr>
                <p:cNvSpPr/>
                <p:nvPr/>
              </p:nvSpPr>
              <p:spPr>
                <a:xfrm>
                  <a:off x="5590428" y="5325460"/>
                  <a:ext cx="33350" cy="23310"/>
                </a:xfrm>
                <a:custGeom>
                  <a:avLst/>
                  <a:gdLst>
                    <a:gd name="connsiteX0" fmla="*/ 0 w 323105"/>
                    <a:gd name="connsiteY0" fmla="*/ 101838 h 225832"/>
                    <a:gd name="connsiteX1" fmla="*/ 155843 w 323105"/>
                    <a:gd name="connsiteY1" fmla="*/ 508 h 225832"/>
                    <a:gd name="connsiteX2" fmla="*/ 322375 w 323105"/>
                    <a:gd name="connsiteY2" fmla="*/ 148014 h 225832"/>
                    <a:gd name="connsiteX3" fmla="*/ 304631 w 323105"/>
                    <a:gd name="connsiteY3" fmla="*/ 225828 h 225832"/>
                    <a:gd name="connsiteX4" fmla="*/ 273634 w 323105"/>
                    <a:gd name="connsiteY4" fmla="*/ 183928 h 225832"/>
                    <a:gd name="connsiteX5" fmla="*/ 220404 w 323105"/>
                    <a:gd name="connsiteY5" fmla="*/ 124926 h 225832"/>
                    <a:gd name="connsiteX6" fmla="*/ 0 w 323105"/>
                    <a:gd name="connsiteY6" fmla="*/ 101838 h 225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3105" h="225832">
                      <a:moveTo>
                        <a:pt x="0" y="101838"/>
                      </a:moveTo>
                      <a:cubicBezTo>
                        <a:pt x="0" y="101838"/>
                        <a:pt x="44252" y="9273"/>
                        <a:pt x="155843" y="508"/>
                      </a:cubicBezTo>
                      <a:cubicBezTo>
                        <a:pt x="267220" y="-8257"/>
                        <a:pt x="330712" y="98631"/>
                        <a:pt x="322375" y="148014"/>
                      </a:cubicBezTo>
                      <a:cubicBezTo>
                        <a:pt x="314037" y="197396"/>
                        <a:pt x="304631" y="225828"/>
                        <a:pt x="304631" y="225828"/>
                      </a:cubicBezTo>
                      <a:cubicBezTo>
                        <a:pt x="304631" y="225828"/>
                        <a:pt x="292660" y="227111"/>
                        <a:pt x="273634" y="183928"/>
                      </a:cubicBezTo>
                      <a:cubicBezTo>
                        <a:pt x="254608" y="140959"/>
                        <a:pt x="249477" y="135187"/>
                        <a:pt x="220404" y="124926"/>
                      </a:cubicBezTo>
                      <a:cubicBezTo>
                        <a:pt x="191330" y="114665"/>
                        <a:pt x="6413" y="115733"/>
                        <a:pt x="0" y="101838"/>
                      </a:cubicBez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0" name="Graphic 2">
                  <a:extLst>
                    <a:ext uri="{FF2B5EF4-FFF2-40B4-BE49-F238E27FC236}">
                      <a16:creationId xmlns:a16="http://schemas.microsoft.com/office/drawing/2014/main" id="{5CB1B846-DE5B-4581-9EE0-B47C2DC3A20A}"/>
                    </a:ext>
                  </a:extLst>
                </p:cNvPr>
                <p:cNvSpPr/>
                <p:nvPr/>
              </p:nvSpPr>
              <p:spPr>
                <a:xfrm>
                  <a:off x="5596915" y="5341466"/>
                  <a:ext cx="22661" cy="13747"/>
                </a:xfrm>
                <a:custGeom>
                  <a:avLst/>
                  <a:gdLst>
                    <a:gd name="connsiteX0" fmla="*/ 211853 w 219548"/>
                    <a:gd name="connsiteY0" fmla="*/ 0 h 133182"/>
                    <a:gd name="connsiteX1" fmla="*/ 171021 w 219548"/>
                    <a:gd name="connsiteY1" fmla="*/ 57078 h 133182"/>
                    <a:gd name="connsiteX2" fmla="*/ 54086 w 219548"/>
                    <a:gd name="connsiteY2" fmla="*/ 108385 h 133182"/>
                    <a:gd name="connsiteX3" fmla="*/ 36983 w 219548"/>
                    <a:gd name="connsiteY3" fmla="*/ 100689 h 133182"/>
                    <a:gd name="connsiteX4" fmla="*/ 0 w 219548"/>
                    <a:gd name="connsiteY4" fmla="*/ 108385 h 133182"/>
                    <a:gd name="connsiteX5" fmla="*/ 0 w 219548"/>
                    <a:gd name="connsiteY5" fmla="*/ 133183 h 133182"/>
                    <a:gd name="connsiteX6" fmla="*/ 40831 w 219548"/>
                    <a:gd name="connsiteY6" fmla="*/ 133183 h 133182"/>
                    <a:gd name="connsiteX7" fmla="*/ 56010 w 219548"/>
                    <a:gd name="connsiteY7" fmla="*/ 121852 h 133182"/>
                    <a:gd name="connsiteX8" fmla="*/ 174869 w 219548"/>
                    <a:gd name="connsiteY8" fmla="*/ 78242 h 133182"/>
                    <a:gd name="connsiteX9" fmla="*/ 219549 w 219548"/>
                    <a:gd name="connsiteY9" fmla="*/ 25012 h 133182"/>
                    <a:gd name="connsiteX10" fmla="*/ 211853 w 219548"/>
                    <a:gd name="connsiteY10" fmla="*/ 0 h 13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548" h="133182">
                      <a:moveTo>
                        <a:pt x="211853" y="0"/>
                      </a:moveTo>
                      <a:cubicBezTo>
                        <a:pt x="211853" y="0"/>
                        <a:pt x="202447" y="26508"/>
                        <a:pt x="171021" y="57078"/>
                      </a:cubicBezTo>
                      <a:cubicBezTo>
                        <a:pt x="139596" y="87648"/>
                        <a:pt x="54086" y="108385"/>
                        <a:pt x="54086" y="108385"/>
                      </a:cubicBezTo>
                      <a:cubicBezTo>
                        <a:pt x="54086" y="108385"/>
                        <a:pt x="47459" y="98978"/>
                        <a:pt x="36983" y="100689"/>
                      </a:cubicBezTo>
                      <a:cubicBezTo>
                        <a:pt x="26509" y="102613"/>
                        <a:pt x="0" y="102613"/>
                        <a:pt x="0" y="108385"/>
                      </a:cubicBezTo>
                      <a:cubicBezTo>
                        <a:pt x="0" y="114156"/>
                        <a:pt x="0" y="133183"/>
                        <a:pt x="0" y="133183"/>
                      </a:cubicBezTo>
                      <a:cubicBezTo>
                        <a:pt x="0" y="133183"/>
                        <a:pt x="32280" y="133183"/>
                        <a:pt x="40831" y="133183"/>
                      </a:cubicBezTo>
                      <a:cubicBezTo>
                        <a:pt x="49383" y="133183"/>
                        <a:pt x="56010" y="121852"/>
                        <a:pt x="56010" y="121852"/>
                      </a:cubicBezTo>
                      <a:cubicBezTo>
                        <a:pt x="56010" y="121852"/>
                        <a:pt x="156698" y="93420"/>
                        <a:pt x="174869" y="78242"/>
                      </a:cubicBezTo>
                      <a:cubicBezTo>
                        <a:pt x="192827" y="63064"/>
                        <a:pt x="219549" y="25012"/>
                        <a:pt x="219549" y="25012"/>
                      </a:cubicBezTo>
                      <a:lnTo>
                        <a:pt x="211853" y="0"/>
                      </a:ln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1" name="Graphic 2">
                  <a:extLst>
                    <a:ext uri="{FF2B5EF4-FFF2-40B4-BE49-F238E27FC236}">
                      <a16:creationId xmlns:a16="http://schemas.microsoft.com/office/drawing/2014/main" id="{92F7544F-99E7-4D1E-BB38-10F900D28537}"/>
                    </a:ext>
                  </a:extLst>
                </p:cNvPr>
                <p:cNvSpPr/>
                <p:nvPr/>
              </p:nvSpPr>
              <p:spPr>
                <a:xfrm>
                  <a:off x="5596886" y="5359119"/>
                  <a:ext cx="16951" cy="25138"/>
                </a:xfrm>
                <a:custGeom>
                  <a:avLst/>
                  <a:gdLst>
                    <a:gd name="connsiteX0" fmla="*/ 137952 w 164222"/>
                    <a:gd name="connsiteY0" fmla="*/ 0 h 243537"/>
                    <a:gd name="connsiteX1" fmla="*/ 159757 w 164222"/>
                    <a:gd name="connsiteY1" fmla="*/ 34204 h 243537"/>
                    <a:gd name="connsiteX2" fmla="*/ 159757 w 164222"/>
                    <a:gd name="connsiteY2" fmla="*/ 100047 h 243537"/>
                    <a:gd name="connsiteX3" fmla="*/ 150992 w 164222"/>
                    <a:gd name="connsiteY3" fmla="*/ 213990 h 243537"/>
                    <a:gd name="connsiteX4" fmla="*/ 12679 w 164222"/>
                    <a:gd name="connsiteY4" fmla="*/ 241781 h 243537"/>
                    <a:gd name="connsiteX5" fmla="*/ 66 w 164222"/>
                    <a:gd name="connsiteY5" fmla="*/ 44252 h 243537"/>
                    <a:gd name="connsiteX6" fmla="*/ 16527 w 164222"/>
                    <a:gd name="connsiteY6" fmla="*/ 0 h 243537"/>
                    <a:gd name="connsiteX7" fmla="*/ 137952 w 164222"/>
                    <a:gd name="connsiteY7" fmla="*/ 0 h 243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222" h="243537">
                      <a:moveTo>
                        <a:pt x="137952" y="0"/>
                      </a:moveTo>
                      <a:cubicBezTo>
                        <a:pt x="137952" y="0"/>
                        <a:pt x="159757" y="2565"/>
                        <a:pt x="159757" y="34204"/>
                      </a:cubicBezTo>
                      <a:cubicBezTo>
                        <a:pt x="159757" y="65843"/>
                        <a:pt x="169805" y="83587"/>
                        <a:pt x="159757" y="100047"/>
                      </a:cubicBezTo>
                      <a:cubicBezTo>
                        <a:pt x="149710" y="116508"/>
                        <a:pt x="150992" y="213990"/>
                        <a:pt x="150992" y="213990"/>
                      </a:cubicBezTo>
                      <a:cubicBezTo>
                        <a:pt x="150992" y="213990"/>
                        <a:pt x="87501" y="252042"/>
                        <a:pt x="12679" y="241781"/>
                      </a:cubicBezTo>
                      <a:cubicBezTo>
                        <a:pt x="12679" y="241781"/>
                        <a:pt x="1349" y="66912"/>
                        <a:pt x="66" y="44252"/>
                      </a:cubicBezTo>
                      <a:cubicBezTo>
                        <a:pt x="-1217" y="21378"/>
                        <a:pt x="16527" y="0"/>
                        <a:pt x="16527" y="0"/>
                      </a:cubicBezTo>
                      <a:cubicBezTo>
                        <a:pt x="16527" y="0"/>
                        <a:pt x="90707" y="8979"/>
                        <a:pt x="137952" y="0"/>
                      </a:cubicBez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2" name="Graphic 2">
                  <a:extLst>
                    <a:ext uri="{FF2B5EF4-FFF2-40B4-BE49-F238E27FC236}">
                      <a16:creationId xmlns:a16="http://schemas.microsoft.com/office/drawing/2014/main" id="{D61E62B0-AE8C-4409-8B90-EC0DD5321DE7}"/>
                    </a:ext>
                  </a:extLst>
                </p:cNvPr>
                <p:cNvSpPr/>
                <p:nvPr/>
              </p:nvSpPr>
              <p:spPr>
                <a:xfrm>
                  <a:off x="5583455" y="5356493"/>
                  <a:ext cx="7833" cy="26263"/>
                </a:xfrm>
                <a:custGeom>
                  <a:avLst/>
                  <a:gdLst>
                    <a:gd name="connsiteX0" fmla="*/ 75891 w 75890"/>
                    <a:gd name="connsiteY0" fmla="*/ 0 h 254441"/>
                    <a:gd name="connsiteX1" fmla="*/ 58148 w 75890"/>
                    <a:gd name="connsiteY1" fmla="*/ 136817 h 254441"/>
                    <a:gd name="connsiteX2" fmla="*/ 49383 w 75890"/>
                    <a:gd name="connsiteY2" fmla="*/ 140665 h 254441"/>
                    <a:gd name="connsiteX3" fmla="*/ 38052 w 75890"/>
                    <a:gd name="connsiteY3" fmla="*/ 247125 h 254441"/>
                    <a:gd name="connsiteX4" fmla="*/ 0 w 75890"/>
                    <a:gd name="connsiteY4" fmla="*/ 247125 h 254441"/>
                    <a:gd name="connsiteX5" fmla="*/ 16247 w 75890"/>
                    <a:gd name="connsiteY5" fmla="*/ 141520 h 254441"/>
                    <a:gd name="connsiteX6" fmla="*/ 38052 w 75890"/>
                    <a:gd name="connsiteY6" fmla="*/ 0 h 254441"/>
                    <a:gd name="connsiteX7" fmla="*/ 75891 w 75890"/>
                    <a:gd name="connsiteY7" fmla="*/ 0 h 254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90" h="254441">
                      <a:moveTo>
                        <a:pt x="75891" y="0"/>
                      </a:moveTo>
                      <a:lnTo>
                        <a:pt x="58148" y="136817"/>
                      </a:lnTo>
                      <a:lnTo>
                        <a:pt x="49383" y="140665"/>
                      </a:lnTo>
                      <a:lnTo>
                        <a:pt x="38052" y="247125"/>
                      </a:lnTo>
                      <a:cubicBezTo>
                        <a:pt x="38052" y="247125"/>
                        <a:pt x="17744" y="263586"/>
                        <a:pt x="0" y="247125"/>
                      </a:cubicBezTo>
                      <a:lnTo>
                        <a:pt x="16247" y="141520"/>
                      </a:lnTo>
                      <a:lnTo>
                        <a:pt x="38052" y="0"/>
                      </a:lnTo>
                      <a:lnTo>
                        <a:pt x="75891" y="0"/>
                      </a:lnTo>
                      <a:close/>
                    </a:path>
                  </a:pathLst>
                </a:custGeom>
                <a:solidFill>
                  <a:srgbClr val="D96930"/>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3" name="Graphic 2">
                  <a:extLst>
                    <a:ext uri="{FF2B5EF4-FFF2-40B4-BE49-F238E27FC236}">
                      <a16:creationId xmlns:a16="http://schemas.microsoft.com/office/drawing/2014/main" id="{AAF6D3F0-13F1-4165-9B74-29A52E8FFB17}"/>
                    </a:ext>
                  </a:extLst>
                </p:cNvPr>
                <p:cNvSpPr/>
                <p:nvPr/>
              </p:nvSpPr>
              <p:spPr>
                <a:xfrm>
                  <a:off x="5585110" y="5356493"/>
                  <a:ext cx="6178" cy="14607"/>
                </a:xfrm>
                <a:custGeom>
                  <a:avLst/>
                  <a:gdLst>
                    <a:gd name="connsiteX0" fmla="*/ 59857 w 59857"/>
                    <a:gd name="connsiteY0" fmla="*/ 0 h 141519"/>
                    <a:gd name="connsiteX1" fmla="*/ 42114 w 59857"/>
                    <a:gd name="connsiteY1" fmla="*/ 136817 h 141519"/>
                    <a:gd name="connsiteX2" fmla="*/ 33135 w 59857"/>
                    <a:gd name="connsiteY2" fmla="*/ 140665 h 141519"/>
                    <a:gd name="connsiteX3" fmla="*/ 0 w 59857"/>
                    <a:gd name="connsiteY3" fmla="*/ 141520 h 141519"/>
                    <a:gd name="connsiteX4" fmla="*/ 21806 w 59857"/>
                    <a:gd name="connsiteY4" fmla="*/ 0 h 141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57" h="141519">
                      <a:moveTo>
                        <a:pt x="59857" y="0"/>
                      </a:moveTo>
                      <a:lnTo>
                        <a:pt x="42114" y="136817"/>
                      </a:lnTo>
                      <a:lnTo>
                        <a:pt x="33135" y="140665"/>
                      </a:lnTo>
                      <a:lnTo>
                        <a:pt x="0" y="141520"/>
                      </a:lnTo>
                      <a:lnTo>
                        <a:pt x="21806" y="0"/>
                      </a:lnTo>
                      <a:close/>
                    </a:path>
                  </a:pathLst>
                </a:custGeom>
                <a:solidFill>
                  <a:schemeClr val="tx1">
                    <a:lumMod val="85000"/>
                    <a:lumOff val="15000"/>
                  </a:schemeClr>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4" name="Graphic 2">
                  <a:extLst>
                    <a:ext uri="{FF2B5EF4-FFF2-40B4-BE49-F238E27FC236}">
                      <a16:creationId xmlns:a16="http://schemas.microsoft.com/office/drawing/2014/main" id="{EFA054E3-567F-4FF0-A79F-512119D7F86C}"/>
                    </a:ext>
                  </a:extLst>
                </p:cNvPr>
                <p:cNvSpPr/>
                <p:nvPr/>
              </p:nvSpPr>
              <p:spPr>
                <a:xfrm>
                  <a:off x="5585375" y="5362478"/>
                  <a:ext cx="20096" cy="5650"/>
                </a:xfrm>
                <a:custGeom>
                  <a:avLst/>
                  <a:gdLst>
                    <a:gd name="connsiteX0" fmla="*/ 185130 w 194690"/>
                    <a:gd name="connsiteY0" fmla="*/ 9143 h 54741"/>
                    <a:gd name="connsiteX1" fmla="*/ 193681 w 194690"/>
                    <a:gd name="connsiteY1" fmla="*/ 48478 h 54741"/>
                    <a:gd name="connsiteX2" fmla="*/ 76104 w 194690"/>
                    <a:gd name="connsiteY2" fmla="*/ 48478 h 54741"/>
                    <a:gd name="connsiteX3" fmla="*/ 22874 w 194690"/>
                    <a:gd name="connsiteY3" fmla="*/ 54036 h 54741"/>
                    <a:gd name="connsiteX4" fmla="*/ 0 w 194690"/>
                    <a:gd name="connsiteY4" fmla="*/ 32017 h 54741"/>
                    <a:gd name="connsiteX5" fmla="*/ 0 w 194690"/>
                    <a:gd name="connsiteY5" fmla="*/ 9143 h 54741"/>
                    <a:gd name="connsiteX6" fmla="*/ 34204 w 194690"/>
                    <a:gd name="connsiteY6" fmla="*/ 378 h 54741"/>
                    <a:gd name="connsiteX7" fmla="*/ 65843 w 194690"/>
                    <a:gd name="connsiteY7" fmla="*/ 12991 h 54741"/>
                    <a:gd name="connsiteX8" fmla="*/ 185130 w 194690"/>
                    <a:gd name="connsiteY8" fmla="*/ 9143 h 54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90" h="54741">
                      <a:moveTo>
                        <a:pt x="185130" y="9143"/>
                      </a:moveTo>
                      <a:cubicBezTo>
                        <a:pt x="185130" y="9143"/>
                        <a:pt x="198384" y="35651"/>
                        <a:pt x="193681" y="48478"/>
                      </a:cubicBezTo>
                      <a:cubicBezTo>
                        <a:pt x="188978" y="61091"/>
                        <a:pt x="76104" y="48478"/>
                        <a:pt x="76104" y="48478"/>
                      </a:cubicBezTo>
                      <a:cubicBezTo>
                        <a:pt x="76104" y="48478"/>
                        <a:pt x="34204" y="57242"/>
                        <a:pt x="22874" y="54036"/>
                      </a:cubicBezTo>
                      <a:cubicBezTo>
                        <a:pt x="11544" y="51043"/>
                        <a:pt x="0" y="32017"/>
                        <a:pt x="0" y="32017"/>
                      </a:cubicBezTo>
                      <a:lnTo>
                        <a:pt x="0" y="9143"/>
                      </a:lnTo>
                      <a:cubicBezTo>
                        <a:pt x="0" y="9143"/>
                        <a:pt x="27791" y="-2187"/>
                        <a:pt x="34204" y="378"/>
                      </a:cubicBezTo>
                      <a:cubicBezTo>
                        <a:pt x="40618" y="2944"/>
                        <a:pt x="65843" y="12991"/>
                        <a:pt x="65843" y="12991"/>
                      </a:cubicBezTo>
                      <a:lnTo>
                        <a:pt x="185130" y="9143"/>
                      </a:lnTo>
                      <a:close/>
                    </a:path>
                  </a:pathLst>
                </a:custGeom>
                <a:solidFill>
                  <a:srgbClr val="D96930"/>
                </a:solidFill>
                <a:ln w="2137"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5" name="Graphic 2">
                  <a:extLst>
                    <a:ext uri="{FF2B5EF4-FFF2-40B4-BE49-F238E27FC236}">
                      <a16:creationId xmlns:a16="http://schemas.microsoft.com/office/drawing/2014/main" id="{09A6D13D-C81A-4BF6-BAFA-B5D5881B9FE9}"/>
                    </a:ext>
                  </a:extLst>
                </p:cNvPr>
                <p:cNvSpPr/>
                <p:nvPr/>
              </p:nvSpPr>
              <p:spPr>
                <a:xfrm>
                  <a:off x="5162905" y="5496148"/>
                  <a:ext cx="256050" cy="23301"/>
                </a:xfrm>
                <a:custGeom>
                  <a:avLst/>
                  <a:gdLst>
                    <a:gd name="connsiteX0" fmla="*/ 0 w 2480660"/>
                    <a:gd name="connsiteY0" fmla="*/ 225748 h 225747"/>
                    <a:gd name="connsiteX1" fmla="*/ 2480661 w 2480660"/>
                    <a:gd name="connsiteY1" fmla="*/ 166104 h 225747"/>
                    <a:gd name="connsiteX2" fmla="*/ 2480661 w 2480660"/>
                    <a:gd name="connsiteY2" fmla="*/ 0 h 225747"/>
                    <a:gd name="connsiteX3" fmla="*/ 0 w 2480660"/>
                    <a:gd name="connsiteY3" fmla="*/ 49596 h 225747"/>
                  </a:gdLst>
                  <a:ahLst/>
                  <a:cxnLst>
                    <a:cxn ang="0">
                      <a:pos x="connsiteX0" y="connsiteY0"/>
                    </a:cxn>
                    <a:cxn ang="0">
                      <a:pos x="connsiteX1" y="connsiteY1"/>
                    </a:cxn>
                    <a:cxn ang="0">
                      <a:pos x="connsiteX2" y="connsiteY2"/>
                    </a:cxn>
                    <a:cxn ang="0">
                      <a:pos x="connsiteX3" y="connsiteY3"/>
                    </a:cxn>
                  </a:cxnLst>
                  <a:rect l="l" t="t" r="r" b="b"/>
                  <a:pathLst>
                    <a:path w="2480660" h="225747">
                      <a:moveTo>
                        <a:pt x="0" y="225748"/>
                      </a:moveTo>
                      <a:lnTo>
                        <a:pt x="2480661" y="166104"/>
                      </a:lnTo>
                      <a:lnTo>
                        <a:pt x="2480661" y="0"/>
                      </a:lnTo>
                      <a:lnTo>
                        <a:pt x="0" y="49596"/>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6" name="Graphic 2">
                  <a:extLst>
                    <a:ext uri="{FF2B5EF4-FFF2-40B4-BE49-F238E27FC236}">
                      <a16:creationId xmlns:a16="http://schemas.microsoft.com/office/drawing/2014/main" id="{E45BB8C1-6457-41FE-95CB-3148239A65BA}"/>
                    </a:ext>
                  </a:extLst>
                </p:cNvPr>
                <p:cNvSpPr/>
                <p:nvPr/>
              </p:nvSpPr>
              <p:spPr>
                <a:xfrm>
                  <a:off x="5162905" y="5464748"/>
                  <a:ext cx="256050" cy="36519"/>
                </a:xfrm>
                <a:custGeom>
                  <a:avLst/>
                  <a:gdLst>
                    <a:gd name="connsiteX0" fmla="*/ 2480661 w 2480660"/>
                    <a:gd name="connsiteY0" fmla="*/ 304204 h 353799"/>
                    <a:gd name="connsiteX1" fmla="*/ 2257478 w 2480660"/>
                    <a:gd name="connsiteY1" fmla="*/ 0 h 353799"/>
                    <a:gd name="connsiteX2" fmla="*/ 0 w 2480660"/>
                    <a:gd name="connsiteY2" fmla="*/ 22660 h 353799"/>
                    <a:gd name="connsiteX3" fmla="*/ 0 w 2480660"/>
                    <a:gd name="connsiteY3" fmla="*/ 353800 h 353799"/>
                  </a:gdLst>
                  <a:ahLst/>
                  <a:cxnLst>
                    <a:cxn ang="0">
                      <a:pos x="connsiteX0" y="connsiteY0"/>
                    </a:cxn>
                    <a:cxn ang="0">
                      <a:pos x="connsiteX1" y="connsiteY1"/>
                    </a:cxn>
                    <a:cxn ang="0">
                      <a:pos x="connsiteX2" y="connsiteY2"/>
                    </a:cxn>
                    <a:cxn ang="0">
                      <a:pos x="connsiteX3" y="connsiteY3"/>
                    </a:cxn>
                  </a:cxnLst>
                  <a:rect l="l" t="t" r="r" b="b"/>
                  <a:pathLst>
                    <a:path w="2480660" h="353799">
                      <a:moveTo>
                        <a:pt x="2480661" y="304204"/>
                      </a:moveTo>
                      <a:lnTo>
                        <a:pt x="2257478" y="0"/>
                      </a:lnTo>
                      <a:lnTo>
                        <a:pt x="0" y="22660"/>
                      </a:lnTo>
                      <a:lnTo>
                        <a:pt x="0" y="35380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7" name="Graphic 2">
                  <a:extLst>
                    <a:ext uri="{FF2B5EF4-FFF2-40B4-BE49-F238E27FC236}">
                      <a16:creationId xmlns:a16="http://schemas.microsoft.com/office/drawing/2014/main" id="{66EA63DA-D5D5-4F35-9EF4-A4B7468C1EF6}"/>
                    </a:ext>
                  </a:extLst>
                </p:cNvPr>
                <p:cNvSpPr/>
                <p:nvPr/>
              </p:nvSpPr>
              <p:spPr>
                <a:xfrm>
                  <a:off x="5497222" y="5488381"/>
                  <a:ext cx="314017" cy="23301"/>
                </a:xfrm>
                <a:custGeom>
                  <a:avLst/>
                  <a:gdLst>
                    <a:gd name="connsiteX0" fmla="*/ 0 w 3042250"/>
                    <a:gd name="connsiteY0" fmla="*/ 225748 h 225747"/>
                    <a:gd name="connsiteX1" fmla="*/ 3042251 w 3042250"/>
                    <a:gd name="connsiteY1" fmla="*/ 166104 h 225747"/>
                    <a:gd name="connsiteX2" fmla="*/ 3042251 w 3042250"/>
                    <a:gd name="connsiteY2" fmla="*/ 0 h 225747"/>
                    <a:gd name="connsiteX3" fmla="*/ 0 w 3042250"/>
                    <a:gd name="connsiteY3" fmla="*/ 49382 h 225747"/>
                  </a:gdLst>
                  <a:ahLst/>
                  <a:cxnLst>
                    <a:cxn ang="0">
                      <a:pos x="connsiteX0" y="connsiteY0"/>
                    </a:cxn>
                    <a:cxn ang="0">
                      <a:pos x="connsiteX1" y="connsiteY1"/>
                    </a:cxn>
                    <a:cxn ang="0">
                      <a:pos x="connsiteX2" y="connsiteY2"/>
                    </a:cxn>
                    <a:cxn ang="0">
                      <a:pos x="connsiteX3" y="connsiteY3"/>
                    </a:cxn>
                  </a:cxnLst>
                  <a:rect l="l" t="t" r="r" b="b"/>
                  <a:pathLst>
                    <a:path w="3042250" h="225747">
                      <a:moveTo>
                        <a:pt x="0" y="225748"/>
                      </a:moveTo>
                      <a:lnTo>
                        <a:pt x="3042251" y="166104"/>
                      </a:lnTo>
                      <a:lnTo>
                        <a:pt x="3042251" y="0"/>
                      </a:lnTo>
                      <a:lnTo>
                        <a:pt x="0" y="49382"/>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8" name="Graphic 2">
                  <a:extLst>
                    <a:ext uri="{FF2B5EF4-FFF2-40B4-BE49-F238E27FC236}">
                      <a16:creationId xmlns:a16="http://schemas.microsoft.com/office/drawing/2014/main" id="{2D0EC1BF-9D93-4D35-827E-9C37BEB16872}"/>
                    </a:ext>
                  </a:extLst>
                </p:cNvPr>
                <p:cNvSpPr/>
                <p:nvPr/>
              </p:nvSpPr>
              <p:spPr>
                <a:xfrm>
                  <a:off x="5497222" y="5460821"/>
                  <a:ext cx="314017" cy="32657"/>
                </a:xfrm>
                <a:custGeom>
                  <a:avLst/>
                  <a:gdLst>
                    <a:gd name="connsiteX0" fmla="*/ 3042251 w 3042250"/>
                    <a:gd name="connsiteY0" fmla="*/ 267007 h 316388"/>
                    <a:gd name="connsiteX1" fmla="*/ 2797477 w 3042250"/>
                    <a:gd name="connsiteY1" fmla="*/ 0 h 316388"/>
                    <a:gd name="connsiteX2" fmla="*/ 0 w 3042250"/>
                    <a:gd name="connsiteY2" fmla="*/ 28219 h 316388"/>
                    <a:gd name="connsiteX3" fmla="*/ 0 w 3042250"/>
                    <a:gd name="connsiteY3" fmla="*/ 316389 h 316388"/>
                  </a:gdLst>
                  <a:ahLst/>
                  <a:cxnLst>
                    <a:cxn ang="0">
                      <a:pos x="connsiteX0" y="connsiteY0"/>
                    </a:cxn>
                    <a:cxn ang="0">
                      <a:pos x="connsiteX1" y="connsiteY1"/>
                    </a:cxn>
                    <a:cxn ang="0">
                      <a:pos x="connsiteX2" y="connsiteY2"/>
                    </a:cxn>
                    <a:cxn ang="0">
                      <a:pos x="connsiteX3" y="connsiteY3"/>
                    </a:cxn>
                  </a:cxnLst>
                  <a:rect l="l" t="t" r="r" b="b"/>
                  <a:pathLst>
                    <a:path w="3042250" h="316388">
                      <a:moveTo>
                        <a:pt x="3042251" y="267007"/>
                      </a:moveTo>
                      <a:lnTo>
                        <a:pt x="2797477" y="0"/>
                      </a:lnTo>
                      <a:lnTo>
                        <a:pt x="0" y="28219"/>
                      </a:lnTo>
                      <a:lnTo>
                        <a:pt x="0" y="316389"/>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49" name="Graphic 2">
                  <a:extLst>
                    <a:ext uri="{FF2B5EF4-FFF2-40B4-BE49-F238E27FC236}">
                      <a16:creationId xmlns:a16="http://schemas.microsoft.com/office/drawing/2014/main" id="{2199D1EE-81F9-4AE0-B66B-9073CD7D11C1}"/>
                    </a:ext>
                  </a:extLst>
                </p:cNvPr>
                <p:cNvSpPr/>
                <p:nvPr/>
              </p:nvSpPr>
              <p:spPr>
                <a:xfrm>
                  <a:off x="5078856" y="5446456"/>
                  <a:ext cx="775543" cy="21470"/>
                </a:xfrm>
                <a:custGeom>
                  <a:avLst/>
                  <a:gdLst>
                    <a:gd name="connsiteX0" fmla="*/ 7513597 w 7513596"/>
                    <a:gd name="connsiteY0" fmla="*/ 132541 h 208004"/>
                    <a:gd name="connsiteX1" fmla="*/ 0 w 7513596"/>
                    <a:gd name="connsiteY1" fmla="*/ 208004 h 208004"/>
                    <a:gd name="connsiteX2" fmla="*/ 0 w 7513596"/>
                    <a:gd name="connsiteY2" fmla="*/ 33135 h 208004"/>
                    <a:gd name="connsiteX3" fmla="*/ 7513597 w 7513596"/>
                    <a:gd name="connsiteY3" fmla="*/ 0 h 208004"/>
                  </a:gdLst>
                  <a:ahLst/>
                  <a:cxnLst>
                    <a:cxn ang="0">
                      <a:pos x="connsiteX0" y="connsiteY0"/>
                    </a:cxn>
                    <a:cxn ang="0">
                      <a:pos x="connsiteX1" y="connsiteY1"/>
                    </a:cxn>
                    <a:cxn ang="0">
                      <a:pos x="connsiteX2" y="connsiteY2"/>
                    </a:cxn>
                    <a:cxn ang="0">
                      <a:pos x="connsiteX3" y="connsiteY3"/>
                    </a:cxn>
                  </a:cxnLst>
                  <a:rect l="l" t="t" r="r" b="b"/>
                  <a:pathLst>
                    <a:path w="7513596" h="208004">
                      <a:moveTo>
                        <a:pt x="7513597" y="132541"/>
                      </a:moveTo>
                      <a:lnTo>
                        <a:pt x="0" y="208004"/>
                      </a:lnTo>
                      <a:lnTo>
                        <a:pt x="0" y="33135"/>
                      </a:lnTo>
                      <a:lnTo>
                        <a:pt x="7513597"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0" name="Graphic 2">
                  <a:extLst>
                    <a:ext uri="{FF2B5EF4-FFF2-40B4-BE49-F238E27FC236}">
                      <a16:creationId xmlns:a16="http://schemas.microsoft.com/office/drawing/2014/main" id="{29AC34FF-E70D-429F-8B27-3F49A8FD1F45}"/>
                    </a:ext>
                  </a:extLst>
                </p:cNvPr>
                <p:cNvSpPr/>
                <p:nvPr/>
              </p:nvSpPr>
              <p:spPr>
                <a:xfrm>
                  <a:off x="5041389" y="5444492"/>
                  <a:ext cx="37468" cy="23434"/>
                </a:xfrm>
                <a:custGeom>
                  <a:avLst/>
                  <a:gdLst>
                    <a:gd name="connsiteX0" fmla="*/ 0 w 362992"/>
                    <a:gd name="connsiteY0" fmla="*/ 122921 h 227030"/>
                    <a:gd name="connsiteX1" fmla="*/ 362992 w 362992"/>
                    <a:gd name="connsiteY1" fmla="*/ 227031 h 227030"/>
                    <a:gd name="connsiteX2" fmla="*/ 362992 w 362992"/>
                    <a:gd name="connsiteY2" fmla="*/ 52161 h 227030"/>
                    <a:gd name="connsiteX3" fmla="*/ 0 w 362992"/>
                    <a:gd name="connsiteY3" fmla="*/ 0 h 227030"/>
                  </a:gdLst>
                  <a:ahLst/>
                  <a:cxnLst>
                    <a:cxn ang="0">
                      <a:pos x="connsiteX0" y="connsiteY0"/>
                    </a:cxn>
                    <a:cxn ang="0">
                      <a:pos x="connsiteX1" y="connsiteY1"/>
                    </a:cxn>
                    <a:cxn ang="0">
                      <a:pos x="connsiteX2" y="connsiteY2"/>
                    </a:cxn>
                    <a:cxn ang="0">
                      <a:pos x="connsiteX3" y="connsiteY3"/>
                    </a:cxn>
                  </a:cxnLst>
                  <a:rect l="l" t="t" r="r" b="b"/>
                  <a:pathLst>
                    <a:path w="362992" h="227030">
                      <a:moveTo>
                        <a:pt x="0" y="122921"/>
                      </a:moveTo>
                      <a:lnTo>
                        <a:pt x="362992" y="227031"/>
                      </a:lnTo>
                      <a:lnTo>
                        <a:pt x="362992" y="52161"/>
                      </a:lnTo>
                      <a:lnTo>
                        <a:pt x="0"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1" name="Graphic 2">
                  <a:extLst>
                    <a:ext uri="{FF2B5EF4-FFF2-40B4-BE49-F238E27FC236}">
                      <a16:creationId xmlns:a16="http://schemas.microsoft.com/office/drawing/2014/main" id="{B31C9224-CA9A-4260-89CD-C8F96BD261E0}"/>
                    </a:ext>
                  </a:extLst>
                </p:cNvPr>
                <p:cNvSpPr/>
                <p:nvPr/>
              </p:nvSpPr>
              <p:spPr>
                <a:xfrm>
                  <a:off x="5785974" y="5460578"/>
                  <a:ext cx="25265" cy="27803"/>
                </a:xfrm>
                <a:custGeom>
                  <a:avLst/>
                  <a:gdLst>
                    <a:gd name="connsiteX0" fmla="*/ 244774 w 244773"/>
                    <a:gd name="connsiteY0" fmla="*/ 269358 h 269358"/>
                    <a:gd name="connsiteX1" fmla="*/ 244774 w 244773"/>
                    <a:gd name="connsiteY1" fmla="*/ 0 h 269358"/>
                    <a:gd name="connsiteX2" fmla="*/ 0 w 244773"/>
                    <a:gd name="connsiteY2" fmla="*/ 2351 h 269358"/>
                  </a:gdLst>
                  <a:ahLst/>
                  <a:cxnLst>
                    <a:cxn ang="0">
                      <a:pos x="connsiteX0" y="connsiteY0"/>
                    </a:cxn>
                    <a:cxn ang="0">
                      <a:pos x="connsiteX1" y="connsiteY1"/>
                    </a:cxn>
                    <a:cxn ang="0">
                      <a:pos x="connsiteX2" y="connsiteY2"/>
                    </a:cxn>
                  </a:cxnLst>
                  <a:rect l="l" t="t" r="r" b="b"/>
                  <a:pathLst>
                    <a:path w="244773" h="269358">
                      <a:moveTo>
                        <a:pt x="244774" y="269358"/>
                      </a:moveTo>
                      <a:lnTo>
                        <a:pt x="244774" y="0"/>
                      </a:lnTo>
                      <a:lnTo>
                        <a:pt x="0" y="2351"/>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2" name="Graphic 2">
                  <a:extLst>
                    <a:ext uri="{FF2B5EF4-FFF2-40B4-BE49-F238E27FC236}">
                      <a16:creationId xmlns:a16="http://schemas.microsoft.com/office/drawing/2014/main" id="{2FA9E75E-659D-4FA1-A65F-65E1447E3490}"/>
                    </a:ext>
                  </a:extLst>
                </p:cNvPr>
                <p:cNvSpPr/>
                <p:nvPr/>
              </p:nvSpPr>
              <p:spPr>
                <a:xfrm>
                  <a:off x="5395918" y="5464748"/>
                  <a:ext cx="23037" cy="31400"/>
                </a:xfrm>
                <a:custGeom>
                  <a:avLst/>
                  <a:gdLst>
                    <a:gd name="connsiteX0" fmla="*/ 223183 w 223182"/>
                    <a:gd name="connsiteY0" fmla="*/ 304204 h 304203"/>
                    <a:gd name="connsiteX1" fmla="*/ 223183 w 223182"/>
                    <a:gd name="connsiteY1" fmla="*/ 0 h 304203"/>
                    <a:gd name="connsiteX2" fmla="*/ 0 w 223182"/>
                    <a:gd name="connsiteY2" fmla="*/ 0 h 304203"/>
                  </a:gdLst>
                  <a:ahLst/>
                  <a:cxnLst>
                    <a:cxn ang="0">
                      <a:pos x="connsiteX0" y="connsiteY0"/>
                    </a:cxn>
                    <a:cxn ang="0">
                      <a:pos x="connsiteX1" y="connsiteY1"/>
                    </a:cxn>
                    <a:cxn ang="0">
                      <a:pos x="connsiteX2" y="connsiteY2"/>
                    </a:cxn>
                  </a:cxnLst>
                  <a:rect l="l" t="t" r="r" b="b"/>
                  <a:pathLst>
                    <a:path w="223182" h="304203">
                      <a:moveTo>
                        <a:pt x="223183" y="304204"/>
                      </a:moveTo>
                      <a:lnTo>
                        <a:pt x="223183" y="0"/>
                      </a:lnTo>
                      <a:lnTo>
                        <a:pt x="0"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3" name="Graphic 2">
                  <a:extLst>
                    <a:ext uri="{FF2B5EF4-FFF2-40B4-BE49-F238E27FC236}">
                      <a16:creationId xmlns:a16="http://schemas.microsoft.com/office/drawing/2014/main" id="{1A00C9C9-CBF8-4383-8F6D-87C95F57D3AE}"/>
                    </a:ext>
                  </a:extLst>
                </p:cNvPr>
                <p:cNvSpPr/>
                <p:nvPr/>
              </p:nvSpPr>
              <p:spPr>
                <a:xfrm>
                  <a:off x="5607109" y="5461637"/>
                  <a:ext cx="98126" cy="30076"/>
                </a:xfrm>
                <a:custGeom>
                  <a:avLst/>
                  <a:gdLst>
                    <a:gd name="connsiteX0" fmla="*/ 950663 w 950663"/>
                    <a:gd name="connsiteY0" fmla="*/ 275771 h 291376"/>
                    <a:gd name="connsiteX1" fmla="*/ 0 w 950663"/>
                    <a:gd name="connsiteY1" fmla="*/ 291377 h 291376"/>
                    <a:gd name="connsiteX2" fmla="*/ 0 w 950663"/>
                    <a:gd name="connsiteY2" fmla="*/ 9620 h 291376"/>
                    <a:gd name="connsiteX3" fmla="*/ 950663 w 950663"/>
                    <a:gd name="connsiteY3" fmla="*/ 0 h 291376"/>
                  </a:gdLst>
                  <a:ahLst/>
                  <a:cxnLst>
                    <a:cxn ang="0">
                      <a:pos x="connsiteX0" y="connsiteY0"/>
                    </a:cxn>
                    <a:cxn ang="0">
                      <a:pos x="connsiteX1" y="connsiteY1"/>
                    </a:cxn>
                    <a:cxn ang="0">
                      <a:pos x="connsiteX2" y="connsiteY2"/>
                    </a:cxn>
                    <a:cxn ang="0">
                      <a:pos x="connsiteX3" y="connsiteY3"/>
                    </a:cxn>
                  </a:cxnLst>
                  <a:rect l="l" t="t" r="r" b="b"/>
                  <a:pathLst>
                    <a:path w="950663" h="291376">
                      <a:moveTo>
                        <a:pt x="950663" y="275771"/>
                      </a:moveTo>
                      <a:lnTo>
                        <a:pt x="0" y="291377"/>
                      </a:lnTo>
                      <a:lnTo>
                        <a:pt x="0" y="9620"/>
                      </a:lnTo>
                      <a:lnTo>
                        <a:pt x="950663" y="0"/>
                      </a:lnTo>
                      <a:close/>
                    </a:path>
                  </a:pathLst>
                </a:custGeom>
                <a:solidFill>
                  <a:schemeClr val="bg1"/>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4" name="Graphic 2">
                  <a:extLst>
                    <a:ext uri="{FF2B5EF4-FFF2-40B4-BE49-F238E27FC236}">
                      <a16:creationId xmlns:a16="http://schemas.microsoft.com/office/drawing/2014/main" id="{FE1389A1-F963-4319-AF3D-51B1873D79FC}"/>
                    </a:ext>
                  </a:extLst>
                </p:cNvPr>
                <p:cNvSpPr/>
                <p:nvPr/>
              </p:nvSpPr>
              <p:spPr>
                <a:xfrm>
                  <a:off x="5622798" y="5469707"/>
                  <a:ext cx="10175" cy="16600"/>
                </a:xfrm>
                <a:custGeom>
                  <a:avLst/>
                  <a:gdLst>
                    <a:gd name="connsiteX0" fmla="*/ 0 w 98581"/>
                    <a:gd name="connsiteY0" fmla="*/ 4122 h 160820"/>
                    <a:gd name="connsiteX1" fmla="*/ 39121 w 98581"/>
                    <a:gd name="connsiteY1" fmla="*/ 61 h 160820"/>
                    <a:gd name="connsiteX2" fmla="*/ 83800 w 98581"/>
                    <a:gd name="connsiteY2" fmla="*/ 12032 h 160820"/>
                    <a:gd name="connsiteX3" fmla="*/ 98551 w 98581"/>
                    <a:gd name="connsiteY3" fmla="*/ 44740 h 160820"/>
                    <a:gd name="connsiteX4" fmla="*/ 87221 w 98581"/>
                    <a:gd name="connsiteY4" fmla="*/ 78944 h 160820"/>
                    <a:gd name="connsiteX5" fmla="*/ 39335 w 98581"/>
                    <a:gd name="connsiteY5" fmla="*/ 97756 h 160820"/>
                    <a:gd name="connsiteX6" fmla="*/ 22874 w 98581"/>
                    <a:gd name="connsiteY6" fmla="*/ 96687 h 160820"/>
                    <a:gd name="connsiteX7" fmla="*/ 24584 w 98581"/>
                    <a:gd name="connsiteY7" fmla="*/ 160179 h 160820"/>
                    <a:gd name="connsiteX8" fmla="*/ 4062 w 98581"/>
                    <a:gd name="connsiteY8" fmla="*/ 160820 h 160820"/>
                    <a:gd name="connsiteX9" fmla="*/ 0 w 98581"/>
                    <a:gd name="connsiteY9" fmla="*/ 4122 h 160820"/>
                    <a:gd name="connsiteX10" fmla="*/ 22447 w 98581"/>
                    <a:gd name="connsiteY10" fmla="*/ 79799 h 160820"/>
                    <a:gd name="connsiteX11" fmla="*/ 39335 w 98581"/>
                    <a:gd name="connsiteY11" fmla="*/ 81082 h 160820"/>
                    <a:gd name="connsiteX12" fmla="*/ 78242 w 98581"/>
                    <a:gd name="connsiteY12" fmla="*/ 46236 h 160820"/>
                    <a:gd name="connsiteX13" fmla="*/ 39976 w 98581"/>
                    <a:gd name="connsiteY13" fmla="*/ 16307 h 160820"/>
                    <a:gd name="connsiteX14" fmla="*/ 20736 w 98581"/>
                    <a:gd name="connsiteY14" fmla="*/ 18445 h 160820"/>
                    <a:gd name="connsiteX15" fmla="*/ 22447 w 98581"/>
                    <a:gd name="connsiteY15" fmla="*/ 79799 h 160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581" h="160820">
                      <a:moveTo>
                        <a:pt x="0" y="4122"/>
                      </a:moveTo>
                      <a:cubicBezTo>
                        <a:pt x="9834" y="2198"/>
                        <a:pt x="22661" y="488"/>
                        <a:pt x="39121" y="61"/>
                      </a:cubicBezTo>
                      <a:cubicBezTo>
                        <a:pt x="59430" y="-581"/>
                        <a:pt x="74180" y="3908"/>
                        <a:pt x="83800" y="12032"/>
                      </a:cubicBezTo>
                      <a:cubicBezTo>
                        <a:pt x="92779" y="19300"/>
                        <a:pt x="98124" y="30630"/>
                        <a:pt x="98551" y="44740"/>
                      </a:cubicBezTo>
                      <a:cubicBezTo>
                        <a:pt x="98979" y="59063"/>
                        <a:pt x="94917" y="70393"/>
                        <a:pt x="87221" y="78944"/>
                      </a:cubicBezTo>
                      <a:cubicBezTo>
                        <a:pt x="76746" y="90702"/>
                        <a:pt x="59216" y="97115"/>
                        <a:pt x="39335" y="97756"/>
                      </a:cubicBezTo>
                      <a:cubicBezTo>
                        <a:pt x="33135" y="97970"/>
                        <a:pt x="27577" y="97756"/>
                        <a:pt x="22874" y="96687"/>
                      </a:cubicBezTo>
                      <a:lnTo>
                        <a:pt x="24584" y="160179"/>
                      </a:lnTo>
                      <a:lnTo>
                        <a:pt x="4062" y="160820"/>
                      </a:lnTo>
                      <a:lnTo>
                        <a:pt x="0" y="4122"/>
                      </a:lnTo>
                      <a:close/>
                      <a:moveTo>
                        <a:pt x="22447" y="79799"/>
                      </a:moveTo>
                      <a:cubicBezTo>
                        <a:pt x="26936" y="80868"/>
                        <a:pt x="32494" y="81082"/>
                        <a:pt x="39335" y="81082"/>
                      </a:cubicBezTo>
                      <a:cubicBezTo>
                        <a:pt x="63919" y="80440"/>
                        <a:pt x="78670" y="68041"/>
                        <a:pt x="78242" y="46236"/>
                      </a:cubicBezTo>
                      <a:cubicBezTo>
                        <a:pt x="77601" y="25286"/>
                        <a:pt x="62637" y="15666"/>
                        <a:pt x="39976" y="16307"/>
                      </a:cubicBezTo>
                      <a:cubicBezTo>
                        <a:pt x="30998" y="16521"/>
                        <a:pt x="24157" y="17376"/>
                        <a:pt x="20736" y="18445"/>
                      </a:cubicBezTo>
                      <a:lnTo>
                        <a:pt x="22447" y="79799"/>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5" name="Graphic 2">
                  <a:extLst>
                    <a:ext uri="{FF2B5EF4-FFF2-40B4-BE49-F238E27FC236}">
                      <a16:creationId xmlns:a16="http://schemas.microsoft.com/office/drawing/2014/main" id="{C9823408-F0D7-4939-8E2A-3F8E429AC544}"/>
                    </a:ext>
                  </a:extLst>
                </p:cNvPr>
                <p:cNvSpPr/>
                <p:nvPr/>
              </p:nvSpPr>
              <p:spPr>
                <a:xfrm>
                  <a:off x="5634952" y="5469136"/>
                  <a:ext cx="14948" cy="16909"/>
                </a:xfrm>
                <a:custGeom>
                  <a:avLst/>
                  <a:gdLst>
                    <a:gd name="connsiteX0" fmla="*/ 144766 w 144815"/>
                    <a:gd name="connsiteY0" fmla="*/ 78279 h 163815"/>
                    <a:gd name="connsiteX1" fmla="*/ 73365 w 144815"/>
                    <a:gd name="connsiteY1" fmla="*/ 163789 h 163815"/>
                    <a:gd name="connsiteX2" fmla="*/ 39 w 144815"/>
                    <a:gd name="connsiteY2" fmla="*/ 85333 h 163815"/>
                    <a:gd name="connsiteX3" fmla="*/ 71440 w 144815"/>
                    <a:gd name="connsiteY3" fmla="*/ 37 h 163815"/>
                    <a:gd name="connsiteX4" fmla="*/ 144766 w 144815"/>
                    <a:gd name="connsiteY4" fmla="*/ 78279 h 163815"/>
                    <a:gd name="connsiteX5" fmla="*/ 21844 w 144815"/>
                    <a:gd name="connsiteY5" fmla="*/ 84051 h 163815"/>
                    <a:gd name="connsiteX6" fmla="*/ 74219 w 144815"/>
                    <a:gd name="connsiteY6" fmla="*/ 146901 h 163815"/>
                    <a:gd name="connsiteX7" fmla="*/ 123174 w 144815"/>
                    <a:gd name="connsiteY7" fmla="*/ 79775 h 163815"/>
                    <a:gd name="connsiteX8" fmla="*/ 70799 w 144815"/>
                    <a:gd name="connsiteY8" fmla="*/ 16711 h 163815"/>
                    <a:gd name="connsiteX9" fmla="*/ 21844 w 144815"/>
                    <a:gd name="connsiteY9" fmla="*/ 84051 h 16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815" h="163815">
                      <a:moveTo>
                        <a:pt x="144766" y="78279"/>
                      </a:moveTo>
                      <a:cubicBezTo>
                        <a:pt x="146262" y="132792"/>
                        <a:pt x="113982" y="162720"/>
                        <a:pt x="73365" y="163789"/>
                      </a:cubicBezTo>
                      <a:cubicBezTo>
                        <a:pt x="31464" y="164858"/>
                        <a:pt x="1322" y="133219"/>
                        <a:pt x="39" y="85333"/>
                      </a:cubicBezTo>
                      <a:cubicBezTo>
                        <a:pt x="-1244" y="35096"/>
                        <a:pt x="29112" y="1319"/>
                        <a:pt x="71440" y="37"/>
                      </a:cubicBezTo>
                      <a:cubicBezTo>
                        <a:pt x="114623" y="-1246"/>
                        <a:pt x="143483" y="31248"/>
                        <a:pt x="144766" y="78279"/>
                      </a:cubicBezTo>
                      <a:close/>
                      <a:moveTo>
                        <a:pt x="21844" y="84051"/>
                      </a:moveTo>
                      <a:cubicBezTo>
                        <a:pt x="22699" y="117827"/>
                        <a:pt x="41939" y="147756"/>
                        <a:pt x="74219" y="146901"/>
                      </a:cubicBezTo>
                      <a:cubicBezTo>
                        <a:pt x="106713" y="146046"/>
                        <a:pt x="124243" y="115690"/>
                        <a:pt x="123174" y="79775"/>
                      </a:cubicBezTo>
                      <a:cubicBezTo>
                        <a:pt x="122319" y="48350"/>
                        <a:pt x="105003" y="15856"/>
                        <a:pt x="70799" y="16711"/>
                      </a:cubicBezTo>
                      <a:cubicBezTo>
                        <a:pt x="37023" y="17566"/>
                        <a:pt x="20989" y="49419"/>
                        <a:pt x="21844" y="84051"/>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6" name="Graphic 2">
                  <a:extLst>
                    <a:ext uri="{FF2B5EF4-FFF2-40B4-BE49-F238E27FC236}">
                      <a16:creationId xmlns:a16="http://schemas.microsoft.com/office/drawing/2014/main" id="{AE639987-D5E1-4D2F-A204-8EF65F837240}"/>
                    </a:ext>
                  </a:extLst>
                </p:cNvPr>
                <p:cNvSpPr/>
                <p:nvPr/>
              </p:nvSpPr>
              <p:spPr>
                <a:xfrm>
                  <a:off x="5652432" y="5469051"/>
                  <a:ext cx="9554" cy="16395"/>
                </a:xfrm>
                <a:custGeom>
                  <a:avLst/>
                  <a:gdLst>
                    <a:gd name="connsiteX0" fmla="*/ 0 w 92565"/>
                    <a:gd name="connsiteY0" fmla="*/ 641 h 158835"/>
                    <a:gd name="connsiteX1" fmla="*/ 20523 w 92565"/>
                    <a:gd name="connsiteY1" fmla="*/ 0 h 158835"/>
                    <a:gd name="connsiteX2" fmla="*/ 24370 w 92565"/>
                    <a:gd name="connsiteY2" fmla="*/ 141306 h 158835"/>
                    <a:gd name="connsiteX3" fmla="*/ 92138 w 92565"/>
                    <a:gd name="connsiteY3" fmla="*/ 139382 h 158835"/>
                    <a:gd name="connsiteX4" fmla="*/ 92565 w 92565"/>
                    <a:gd name="connsiteY4" fmla="*/ 156484 h 158835"/>
                    <a:gd name="connsiteX5" fmla="*/ 4490 w 92565"/>
                    <a:gd name="connsiteY5" fmla="*/ 158836 h 158835"/>
                    <a:gd name="connsiteX6" fmla="*/ 0 w 92565"/>
                    <a:gd name="connsiteY6" fmla="*/ 641 h 15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565" h="158835">
                      <a:moveTo>
                        <a:pt x="0" y="641"/>
                      </a:moveTo>
                      <a:lnTo>
                        <a:pt x="20523" y="0"/>
                      </a:lnTo>
                      <a:lnTo>
                        <a:pt x="24370" y="141306"/>
                      </a:lnTo>
                      <a:lnTo>
                        <a:pt x="92138" y="139382"/>
                      </a:lnTo>
                      <a:lnTo>
                        <a:pt x="92565" y="156484"/>
                      </a:lnTo>
                      <a:lnTo>
                        <a:pt x="4490" y="158836"/>
                      </a:lnTo>
                      <a:lnTo>
                        <a:pt x="0" y="641"/>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7" name="Graphic 2">
                  <a:extLst>
                    <a:ext uri="{FF2B5EF4-FFF2-40B4-BE49-F238E27FC236}">
                      <a16:creationId xmlns:a16="http://schemas.microsoft.com/office/drawing/2014/main" id="{92B27549-11F4-494A-A831-D021F5965373}"/>
                    </a:ext>
                  </a:extLst>
                </p:cNvPr>
                <p:cNvSpPr/>
                <p:nvPr/>
              </p:nvSpPr>
              <p:spPr>
                <a:xfrm>
                  <a:off x="5663862" y="5468764"/>
                  <a:ext cx="2560" cy="16417"/>
                </a:xfrm>
                <a:custGeom>
                  <a:avLst/>
                  <a:gdLst>
                    <a:gd name="connsiteX0" fmla="*/ 20522 w 24797"/>
                    <a:gd name="connsiteY0" fmla="*/ 0 h 159049"/>
                    <a:gd name="connsiteX1" fmla="*/ 24798 w 24797"/>
                    <a:gd name="connsiteY1" fmla="*/ 158408 h 159049"/>
                    <a:gd name="connsiteX2" fmla="*/ 4276 w 24797"/>
                    <a:gd name="connsiteY2" fmla="*/ 159050 h 159049"/>
                    <a:gd name="connsiteX3" fmla="*/ 0 w 24797"/>
                    <a:gd name="connsiteY3" fmla="*/ 641 h 159049"/>
                    <a:gd name="connsiteX4" fmla="*/ 20522 w 24797"/>
                    <a:gd name="connsiteY4" fmla="*/ 0 h 159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97" h="159049">
                      <a:moveTo>
                        <a:pt x="20522" y="0"/>
                      </a:moveTo>
                      <a:lnTo>
                        <a:pt x="24798" y="158408"/>
                      </a:lnTo>
                      <a:lnTo>
                        <a:pt x="4276" y="159050"/>
                      </a:lnTo>
                      <a:lnTo>
                        <a:pt x="0" y="641"/>
                      </a:lnTo>
                      <a:lnTo>
                        <a:pt x="20522"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8" name="Graphic 2">
                  <a:extLst>
                    <a:ext uri="{FF2B5EF4-FFF2-40B4-BE49-F238E27FC236}">
                      <a16:creationId xmlns:a16="http://schemas.microsoft.com/office/drawing/2014/main" id="{E0C87006-55A3-433D-B908-0DD00A3A92CA}"/>
                    </a:ext>
                  </a:extLst>
                </p:cNvPr>
                <p:cNvSpPr/>
                <p:nvPr/>
              </p:nvSpPr>
              <p:spPr>
                <a:xfrm>
                  <a:off x="5668934" y="5468162"/>
                  <a:ext cx="12603" cy="16892"/>
                </a:xfrm>
                <a:custGeom>
                  <a:avLst/>
                  <a:gdLst>
                    <a:gd name="connsiteX0" fmla="*/ 122102 w 122102"/>
                    <a:gd name="connsiteY0" fmla="*/ 155056 h 163649"/>
                    <a:gd name="connsiteX1" fmla="*/ 80416 w 122102"/>
                    <a:gd name="connsiteY1" fmla="*/ 163607 h 163649"/>
                    <a:gd name="connsiteX2" fmla="*/ 36 w 122102"/>
                    <a:gd name="connsiteY2" fmla="*/ 85578 h 163649"/>
                    <a:gd name="connsiteX3" fmla="*/ 80630 w 122102"/>
                    <a:gd name="connsiteY3" fmla="*/ 68 h 163649"/>
                    <a:gd name="connsiteX4" fmla="*/ 118468 w 122102"/>
                    <a:gd name="connsiteY4" fmla="*/ 6053 h 163649"/>
                    <a:gd name="connsiteX5" fmla="*/ 113979 w 122102"/>
                    <a:gd name="connsiteY5" fmla="*/ 22942 h 163649"/>
                    <a:gd name="connsiteX6" fmla="*/ 81913 w 122102"/>
                    <a:gd name="connsiteY6" fmla="*/ 17170 h 163649"/>
                    <a:gd name="connsiteX7" fmla="*/ 21842 w 122102"/>
                    <a:gd name="connsiteY7" fmla="*/ 84296 h 163649"/>
                    <a:gd name="connsiteX8" fmla="*/ 84478 w 122102"/>
                    <a:gd name="connsiteY8" fmla="*/ 146291 h 163649"/>
                    <a:gd name="connsiteX9" fmla="*/ 117613 w 122102"/>
                    <a:gd name="connsiteY9" fmla="*/ 138809 h 163649"/>
                    <a:gd name="connsiteX10" fmla="*/ 122102 w 122102"/>
                    <a:gd name="connsiteY10" fmla="*/ 155056 h 16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102" h="163649">
                      <a:moveTo>
                        <a:pt x="122102" y="155056"/>
                      </a:moveTo>
                      <a:cubicBezTo>
                        <a:pt x="114620" y="159117"/>
                        <a:pt x="99656" y="163179"/>
                        <a:pt x="80416" y="163607"/>
                      </a:cubicBezTo>
                      <a:cubicBezTo>
                        <a:pt x="35737" y="164889"/>
                        <a:pt x="1319" y="137526"/>
                        <a:pt x="36" y="85578"/>
                      </a:cubicBezTo>
                      <a:cubicBezTo>
                        <a:pt x="-1246" y="35982"/>
                        <a:pt x="31461" y="1350"/>
                        <a:pt x="80630" y="68"/>
                      </a:cubicBezTo>
                      <a:cubicBezTo>
                        <a:pt x="100297" y="-574"/>
                        <a:pt x="112910" y="3488"/>
                        <a:pt x="118468" y="6053"/>
                      </a:cubicBezTo>
                      <a:lnTo>
                        <a:pt x="113979" y="22942"/>
                      </a:lnTo>
                      <a:cubicBezTo>
                        <a:pt x="106069" y="19308"/>
                        <a:pt x="94953" y="16956"/>
                        <a:pt x="81913" y="17170"/>
                      </a:cubicBezTo>
                      <a:cubicBezTo>
                        <a:pt x="44715" y="18239"/>
                        <a:pt x="20773" y="42609"/>
                        <a:pt x="21842" y="84296"/>
                      </a:cubicBezTo>
                      <a:cubicBezTo>
                        <a:pt x="22910" y="122989"/>
                        <a:pt x="45998" y="147360"/>
                        <a:pt x="84478" y="146291"/>
                      </a:cubicBezTo>
                      <a:cubicBezTo>
                        <a:pt x="96877" y="145863"/>
                        <a:pt x="109490" y="143084"/>
                        <a:pt x="117613" y="138809"/>
                      </a:cubicBezTo>
                      <a:lnTo>
                        <a:pt x="122102" y="155056"/>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59" name="Graphic 2">
                  <a:extLst>
                    <a:ext uri="{FF2B5EF4-FFF2-40B4-BE49-F238E27FC236}">
                      <a16:creationId xmlns:a16="http://schemas.microsoft.com/office/drawing/2014/main" id="{4450C9A9-A491-4836-AE4E-F644D0162A7F}"/>
                    </a:ext>
                  </a:extLst>
                </p:cNvPr>
                <p:cNvSpPr/>
                <p:nvPr/>
              </p:nvSpPr>
              <p:spPr>
                <a:xfrm>
                  <a:off x="5683743" y="5468014"/>
                  <a:ext cx="9643" cy="16594"/>
                </a:xfrm>
                <a:custGeom>
                  <a:avLst/>
                  <a:gdLst>
                    <a:gd name="connsiteX0" fmla="*/ 84442 w 93420"/>
                    <a:gd name="connsiteY0" fmla="*/ 84442 h 160759"/>
                    <a:gd name="connsiteX1" fmla="*/ 22874 w 93420"/>
                    <a:gd name="connsiteY1" fmla="*/ 86152 h 160759"/>
                    <a:gd name="connsiteX2" fmla="*/ 24371 w 93420"/>
                    <a:gd name="connsiteY2" fmla="*/ 143230 h 160759"/>
                    <a:gd name="connsiteX3" fmla="*/ 92993 w 93420"/>
                    <a:gd name="connsiteY3" fmla="*/ 141306 h 160759"/>
                    <a:gd name="connsiteX4" fmla="*/ 93421 w 93420"/>
                    <a:gd name="connsiteY4" fmla="*/ 158408 h 160759"/>
                    <a:gd name="connsiteX5" fmla="*/ 4276 w 93420"/>
                    <a:gd name="connsiteY5" fmla="*/ 160760 h 160759"/>
                    <a:gd name="connsiteX6" fmla="*/ 0 w 93420"/>
                    <a:gd name="connsiteY6" fmla="*/ 2352 h 160759"/>
                    <a:gd name="connsiteX7" fmla="*/ 85511 w 93420"/>
                    <a:gd name="connsiteY7" fmla="*/ 0 h 160759"/>
                    <a:gd name="connsiteX8" fmla="*/ 85939 w 93420"/>
                    <a:gd name="connsiteY8" fmla="*/ 17102 h 160759"/>
                    <a:gd name="connsiteX9" fmla="*/ 20737 w 93420"/>
                    <a:gd name="connsiteY9" fmla="*/ 18812 h 160759"/>
                    <a:gd name="connsiteX10" fmla="*/ 22019 w 93420"/>
                    <a:gd name="connsiteY10" fmla="*/ 68836 h 160759"/>
                    <a:gd name="connsiteX11" fmla="*/ 83587 w 93420"/>
                    <a:gd name="connsiteY11" fmla="*/ 67126 h 160759"/>
                    <a:gd name="connsiteX12" fmla="*/ 84442 w 93420"/>
                    <a:gd name="connsiteY12" fmla="*/ 84442 h 160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420" h="160759">
                      <a:moveTo>
                        <a:pt x="84442" y="84442"/>
                      </a:moveTo>
                      <a:lnTo>
                        <a:pt x="22874" y="86152"/>
                      </a:lnTo>
                      <a:lnTo>
                        <a:pt x="24371" y="143230"/>
                      </a:lnTo>
                      <a:lnTo>
                        <a:pt x="92993" y="141306"/>
                      </a:lnTo>
                      <a:lnTo>
                        <a:pt x="93421" y="158408"/>
                      </a:lnTo>
                      <a:lnTo>
                        <a:pt x="4276" y="160760"/>
                      </a:lnTo>
                      <a:lnTo>
                        <a:pt x="0" y="2352"/>
                      </a:lnTo>
                      <a:lnTo>
                        <a:pt x="85511" y="0"/>
                      </a:lnTo>
                      <a:lnTo>
                        <a:pt x="85939" y="17102"/>
                      </a:lnTo>
                      <a:lnTo>
                        <a:pt x="20737" y="18812"/>
                      </a:lnTo>
                      <a:lnTo>
                        <a:pt x="22019" y="68836"/>
                      </a:lnTo>
                      <a:lnTo>
                        <a:pt x="83587" y="67126"/>
                      </a:lnTo>
                      <a:lnTo>
                        <a:pt x="84442" y="84442"/>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0" name="Graphic 2">
                  <a:extLst>
                    <a:ext uri="{FF2B5EF4-FFF2-40B4-BE49-F238E27FC236}">
                      <a16:creationId xmlns:a16="http://schemas.microsoft.com/office/drawing/2014/main" id="{D2368F9B-11EF-4D5A-926D-8B13B38A06FC}"/>
                    </a:ext>
                  </a:extLst>
                </p:cNvPr>
                <p:cNvSpPr/>
                <p:nvPr/>
              </p:nvSpPr>
              <p:spPr>
                <a:xfrm rot="17091035">
                  <a:off x="5762730" y="5647675"/>
                  <a:ext cx="50575" cy="36497"/>
                </a:xfrm>
                <a:custGeom>
                  <a:avLst/>
                  <a:gdLst>
                    <a:gd name="connsiteX0" fmla="*/ 489976 w 489976"/>
                    <a:gd name="connsiteY0" fmla="*/ 176793 h 353586"/>
                    <a:gd name="connsiteX1" fmla="*/ 244988 w 489976"/>
                    <a:gd name="connsiteY1" fmla="*/ 353587 h 353586"/>
                    <a:gd name="connsiteX2" fmla="*/ -1 w 489976"/>
                    <a:gd name="connsiteY2" fmla="*/ 176793 h 353586"/>
                    <a:gd name="connsiteX3" fmla="*/ 244988 w 489976"/>
                    <a:gd name="connsiteY3" fmla="*/ 0 h 353586"/>
                    <a:gd name="connsiteX4" fmla="*/ 489976 w 489976"/>
                    <a:gd name="connsiteY4" fmla="*/ 176793 h 35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976" h="353586">
                      <a:moveTo>
                        <a:pt x="489976" y="176793"/>
                      </a:moveTo>
                      <a:cubicBezTo>
                        <a:pt x="489976" y="274434"/>
                        <a:pt x="380292" y="353587"/>
                        <a:pt x="244988" y="353587"/>
                      </a:cubicBezTo>
                      <a:cubicBezTo>
                        <a:pt x="109685" y="353587"/>
                        <a:pt x="-1" y="274434"/>
                        <a:pt x="-1" y="176793"/>
                      </a:cubicBezTo>
                      <a:cubicBezTo>
                        <a:pt x="-1" y="79153"/>
                        <a:pt x="109684" y="0"/>
                        <a:pt x="244988" y="0"/>
                      </a:cubicBezTo>
                      <a:cubicBezTo>
                        <a:pt x="380291" y="0"/>
                        <a:pt x="489976" y="79153"/>
                        <a:pt x="489976" y="17679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1" name="Graphic 2">
                  <a:extLst>
                    <a:ext uri="{FF2B5EF4-FFF2-40B4-BE49-F238E27FC236}">
                      <a16:creationId xmlns:a16="http://schemas.microsoft.com/office/drawing/2014/main" id="{A80D8EF7-D964-4C2E-9F42-7A18449FDDFF}"/>
                    </a:ext>
                  </a:extLst>
                </p:cNvPr>
                <p:cNvSpPr/>
                <p:nvPr/>
              </p:nvSpPr>
              <p:spPr>
                <a:xfrm rot="17091035">
                  <a:off x="5767379" y="5654869"/>
                  <a:ext cx="34818" cy="22174"/>
                </a:xfrm>
                <a:custGeom>
                  <a:avLst/>
                  <a:gdLst>
                    <a:gd name="connsiteX0" fmla="*/ 310831 w 310831"/>
                    <a:gd name="connsiteY0" fmla="*/ 98979 h 197957"/>
                    <a:gd name="connsiteX1" fmla="*/ 155416 w 310831"/>
                    <a:gd name="connsiteY1" fmla="*/ 197957 h 197957"/>
                    <a:gd name="connsiteX2" fmla="*/ 0 w 310831"/>
                    <a:gd name="connsiteY2" fmla="*/ 98979 h 197957"/>
                    <a:gd name="connsiteX3" fmla="*/ 155416 w 310831"/>
                    <a:gd name="connsiteY3" fmla="*/ 0 h 197957"/>
                    <a:gd name="connsiteX4" fmla="*/ 310831 w 310831"/>
                    <a:gd name="connsiteY4" fmla="*/ 98979 h 197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31" h="197957">
                      <a:moveTo>
                        <a:pt x="310831" y="98979"/>
                      </a:moveTo>
                      <a:cubicBezTo>
                        <a:pt x="310831" y="153643"/>
                        <a:pt x="241250" y="197957"/>
                        <a:pt x="155416" y="197957"/>
                      </a:cubicBezTo>
                      <a:cubicBezTo>
                        <a:pt x="69582" y="197957"/>
                        <a:pt x="0" y="153643"/>
                        <a:pt x="0" y="98979"/>
                      </a:cubicBezTo>
                      <a:cubicBezTo>
                        <a:pt x="0" y="44314"/>
                        <a:pt x="69582" y="0"/>
                        <a:pt x="155416" y="0"/>
                      </a:cubicBezTo>
                      <a:cubicBezTo>
                        <a:pt x="241250" y="0"/>
                        <a:pt x="310831" y="44314"/>
                        <a:pt x="310831" y="98979"/>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2" name="Graphic 2">
                  <a:extLst>
                    <a:ext uri="{FF2B5EF4-FFF2-40B4-BE49-F238E27FC236}">
                      <a16:creationId xmlns:a16="http://schemas.microsoft.com/office/drawing/2014/main" id="{A007C9D8-A3CF-4FA6-A32E-43831D661207}"/>
                    </a:ext>
                  </a:extLst>
                </p:cNvPr>
                <p:cNvSpPr/>
                <p:nvPr/>
              </p:nvSpPr>
              <p:spPr>
                <a:xfrm rot="17091035">
                  <a:off x="5700784" y="5630728"/>
                  <a:ext cx="50575" cy="36496"/>
                </a:xfrm>
                <a:custGeom>
                  <a:avLst/>
                  <a:gdLst>
                    <a:gd name="connsiteX0" fmla="*/ 489977 w 489976"/>
                    <a:gd name="connsiteY0" fmla="*/ 176793 h 353586"/>
                    <a:gd name="connsiteX1" fmla="*/ 244988 w 489976"/>
                    <a:gd name="connsiteY1" fmla="*/ 353587 h 353586"/>
                    <a:gd name="connsiteX2" fmla="*/ 0 w 489976"/>
                    <a:gd name="connsiteY2" fmla="*/ 176793 h 353586"/>
                    <a:gd name="connsiteX3" fmla="*/ 244988 w 489976"/>
                    <a:gd name="connsiteY3" fmla="*/ 0 h 353586"/>
                    <a:gd name="connsiteX4" fmla="*/ 489977 w 489976"/>
                    <a:gd name="connsiteY4" fmla="*/ 176793 h 35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976" h="353586">
                      <a:moveTo>
                        <a:pt x="489977" y="176793"/>
                      </a:moveTo>
                      <a:cubicBezTo>
                        <a:pt x="489977" y="274433"/>
                        <a:pt x="380292" y="353587"/>
                        <a:pt x="244988" y="353587"/>
                      </a:cubicBezTo>
                      <a:cubicBezTo>
                        <a:pt x="109685" y="353587"/>
                        <a:pt x="0" y="274433"/>
                        <a:pt x="0" y="176793"/>
                      </a:cubicBezTo>
                      <a:cubicBezTo>
                        <a:pt x="0" y="79153"/>
                        <a:pt x="109684" y="0"/>
                        <a:pt x="244988" y="0"/>
                      </a:cubicBezTo>
                      <a:cubicBezTo>
                        <a:pt x="380291" y="0"/>
                        <a:pt x="489977" y="79153"/>
                        <a:pt x="489977" y="17679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3" name="Graphic 2">
                  <a:extLst>
                    <a:ext uri="{FF2B5EF4-FFF2-40B4-BE49-F238E27FC236}">
                      <a16:creationId xmlns:a16="http://schemas.microsoft.com/office/drawing/2014/main" id="{76225C77-0EBA-4F87-98BA-4DCFC18CEDA3}"/>
                    </a:ext>
                  </a:extLst>
                </p:cNvPr>
                <p:cNvSpPr/>
                <p:nvPr/>
              </p:nvSpPr>
              <p:spPr>
                <a:xfrm rot="17091035">
                  <a:off x="5712435" y="5650314"/>
                  <a:ext cx="17300" cy="12489"/>
                </a:xfrm>
                <a:custGeom>
                  <a:avLst/>
                  <a:gdLst>
                    <a:gd name="connsiteX0" fmla="*/ 167601 w 167601"/>
                    <a:gd name="connsiteY0" fmla="*/ 60499 h 120997"/>
                    <a:gd name="connsiteX1" fmla="*/ 83801 w 167601"/>
                    <a:gd name="connsiteY1" fmla="*/ 120998 h 120997"/>
                    <a:gd name="connsiteX2" fmla="*/ 0 w 167601"/>
                    <a:gd name="connsiteY2" fmla="*/ 60499 h 120997"/>
                    <a:gd name="connsiteX3" fmla="*/ 83801 w 167601"/>
                    <a:gd name="connsiteY3" fmla="*/ 0 h 120997"/>
                    <a:gd name="connsiteX4" fmla="*/ 167601 w 167601"/>
                    <a:gd name="connsiteY4" fmla="*/ 60499 h 12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01" h="120997">
                      <a:moveTo>
                        <a:pt x="167601" y="60499"/>
                      </a:moveTo>
                      <a:cubicBezTo>
                        <a:pt x="167601" y="93911"/>
                        <a:pt x="130082" y="120998"/>
                        <a:pt x="83801" y="120998"/>
                      </a:cubicBezTo>
                      <a:cubicBezTo>
                        <a:pt x="37519" y="120998"/>
                        <a:pt x="0" y="93911"/>
                        <a:pt x="0" y="60499"/>
                      </a:cubicBezTo>
                      <a:cubicBezTo>
                        <a:pt x="0" y="27086"/>
                        <a:pt x="37519" y="0"/>
                        <a:pt x="83801" y="0"/>
                      </a:cubicBezTo>
                      <a:cubicBezTo>
                        <a:pt x="130083" y="0"/>
                        <a:pt x="167601" y="27086"/>
                        <a:pt x="167601" y="60499"/>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4" name="Graphic 2">
                  <a:extLst>
                    <a:ext uri="{FF2B5EF4-FFF2-40B4-BE49-F238E27FC236}">
                      <a16:creationId xmlns:a16="http://schemas.microsoft.com/office/drawing/2014/main" id="{41029750-EC0A-470C-A115-58296F9C7FAE}"/>
                    </a:ext>
                  </a:extLst>
                </p:cNvPr>
                <p:cNvSpPr/>
                <p:nvPr/>
              </p:nvSpPr>
              <p:spPr>
                <a:xfrm>
                  <a:off x="5696433" y="5596804"/>
                  <a:ext cx="109251" cy="77990"/>
                </a:xfrm>
                <a:custGeom>
                  <a:avLst/>
                  <a:gdLst>
                    <a:gd name="connsiteX0" fmla="*/ 1057979 w 1058445"/>
                    <a:gd name="connsiteY0" fmla="*/ 265938 h 755567"/>
                    <a:gd name="connsiteX1" fmla="*/ 1056697 w 1058445"/>
                    <a:gd name="connsiteY1" fmla="*/ 275558 h 755567"/>
                    <a:gd name="connsiteX2" fmla="*/ 1055414 w 1058445"/>
                    <a:gd name="connsiteY2" fmla="*/ 280688 h 755567"/>
                    <a:gd name="connsiteX3" fmla="*/ 1001115 w 1058445"/>
                    <a:gd name="connsiteY3" fmla="*/ 370047 h 755567"/>
                    <a:gd name="connsiteX4" fmla="*/ 973110 w 1058445"/>
                    <a:gd name="connsiteY4" fmla="*/ 402755 h 755567"/>
                    <a:gd name="connsiteX5" fmla="*/ 1012017 w 1058445"/>
                    <a:gd name="connsiteY5" fmla="*/ 444441 h 755567"/>
                    <a:gd name="connsiteX6" fmla="*/ 1026340 w 1058445"/>
                    <a:gd name="connsiteY6" fmla="*/ 459833 h 755567"/>
                    <a:gd name="connsiteX7" fmla="*/ 927575 w 1058445"/>
                    <a:gd name="connsiteY7" fmla="*/ 459833 h 755567"/>
                    <a:gd name="connsiteX8" fmla="*/ 710379 w 1058445"/>
                    <a:gd name="connsiteY8" fmla="*/ 735391 h 755567"/>
                    <a:gd name="connsiteX9" fmla="*/ 692208 w 1058445"/>
                    <a:gd name="connsiteY9" fmla="*/ 740521 h 755567"/>
                    <a:gd name="connsiteX10" fmla="*/ 661424 w 1058445"/>
                    <a:gd name="connsiteY10" fmla="*/ 747790 h 755567"/>
                    <a:gd name="connsiteX11" fmla="*/ 437173 w 1058445"/>
                    <a:gd name="connsiteY11" fmla="*/ 703111 h 755567"/>
                    <a:gd name="connsiteX12" fmla="*/ 425842 w 1058445"/>
                    <a:gd name="connsiteY12" fmla="*/ 676602 h 755567"/>
                    <a:gd name="connsiteX13" fmla="*/ 399120 w 1058445"/>
                    <a:gd name="connsiteY13" fmla="*/ 676602 h 755567"/>
                    <a:gd name="connsiteX14" fmla="*/ 298432 w 1058445"/>
                    <a:gd name="connsiteY14" fmla="*/ 644322 h 755567"/>
                    <a:gd name="connsiteX15" fmla="*/ 277482 w 1058445"/>
                    <a:gd name="connsiteY15" fmla="*/ 596436 h 755567"/>
                    <a:gd name="connsiteX16" fmla="*/ 231947 w 1058445"/>
                    <a:gd name="connsiteY16" fmla="*/ 596436 h 755567"/>
                    <a:gd name="connsiteX17" fmla="*/ 79952 w 1058445"/>
                    <a:gd name="connsiteY17" fmla="*/ 539785 h 755567"/>
                    <a:gd name="connsiteX18" fmla="*/ 74180 w 1058445"/>
                    <a:gd name="connsiteY18" fmla="*/ 469453 h 755567"/>
                    <a:gd name="connsiteX19" fmla="*/ 0 w 1058445"/>
                    <a:gd name="connsiteY19" fmla="*/ 435890 h 755567"/>
                    <a:gd name="connsiteX20" fmla="*/ 19026 w 1058445"/>
                    <a:gd name="connsiteY20" fmla="*/ 230024 h 755567"/>
                    <a:gd name="connsiteX21" fmla="*/ 91282 w 1058445"/>
                    <a:gd name="connsiteY21" fmla="*/ 230024 h 755567"/>
                    <a:gd name="connsiteX22" fmla="*/ 91282 w 1058445"/>
                    <a:gd name="connsiteY22" fmla="*/ 133183 h 755567"/>
                    <a:gd name="connsiteX23" fmla="*/ 123563 w 1058445"/>
                    <a:gd name="connsiteY23" fmla="*/ 81876 h 755567"/>
                    <a:gd name="connsiteX24" fmla="*/ 132969 w 1058445"/>
                    <a:gd name="connsiteY24" fmla="*/ 43824 h 755567"/>
                    <a:gd name="connsiteX25" fmla="*/ 273634 w 1058445"/>
                    <a:gd name="connsiteY25" fmla="*/ 43824 h 755567"/>
                    <a:gd name="connsiteX26" fmla="*/ 448503 w 1058445"/>
                    <a:gd name="connsiteY26" fmla="*/ 87435 h 755567"/>
                    <a:gd name="connsiteX27" fmla="*/ 455985 w 1058445"/>
                    <a:gd name="connsiteY27" fmla="*/ 121639 h 755567"/>
                    <a:gd name="connsiteX28" fmla="*/ 482707 w 1058445"/>
                    <a:gd name="connsiteY28" fmla="*/ 127411 h 755567"/>
                    <a:gd name="connsiteX29" fmla="*/ 482707 w 1058445"/>
                    <a:gd name="connsiteY29" fmla="*/ 230024 h 755567"/>
                    <a:gd name="connsiteX30" fmla="*/ 513063 w 1058445"/>
                    <a:gd name="connsiteY30" fmla="*/ 174869 h 755567"/>
                    <a:gd name="connsiteX31" fmla="*/ 592802 w 1058445"/>
                    <a:gd name="connsiteY31" fmla="*/ 157767 h 755567"/>
                    <a:gd name="connsiteX32" fmla="*/ 606056 w 1058445"/>
                    <a:gd name="connsiteY32" fmla="*/ 68408 h 755567"/>
                    <a:gd name="connsiteX33" fmla="*/ 663134 w 1058445"/>
                    <a:gd name="connsiteY33" fmla="*/ 10048 h 755567"/>
                    <a:gd name="connsiteX34" fmla="*/ 678312 w 1058445"/>
                    <a:gd name="connsiteY34" fmla="*/ 0 h 755567"/>
                    <a:gd name="connsiteX35" fmla="*/ 751851 w 1058445"/>
                    <a:gd name="connsiteY35" fmla="*/ 115867 h 755567"/>
                    <a:gd name="connsiteX36" fmla="*/ 818977 w 1058445"/>
                    <a:gd name="connsiteY36" fmla="*/ 57934 h 755567"/>
                    <a:gd name="connsiteX37" fmla="*/ 1029547 w 1058445"/>
                    <a:gd name="connsiteY37" fmla="*/ 86366 h 755567"/>
                    <a:gd name="connsiteX38" fmla="*/ 1035746 w 1058445"/>
                    <a:gd name="connsiteY38" fmla="*/ 140665 h 755567"/>
                    <a:gd name="connsiteX39" fmla="*/ 1057979 w 1058445"/>
                    <a:gd name="connsiteY39" fmla="*/ 265938 h 75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8445" h="755567">
                      <a:moveTo>
                        <a:pt x="1057979" y="265938"/>
                      </a:moveTo>
                      <a:cubicBezTo>
                        <a:pt x="1057765" y="269358"/>
                        <a:pt x="1057338" y="272565"/>
                        <a:pt x="1056697" y="275558"/>
                      </a:cubicBezTo>
                      <a:cubicBezTo>
                        <a:pt x="1056269" y="277268"/>
                        <a:pt x="1055841" y="278978"/>
                        <a:pt x="1055414" y="280688"/>
                      </a:cubicBezTo>
                      <a:cubicBezTo>
                        <a:pt x="1047718" y="308052"/>
                        <a:pt x="1021851" y="344180"/>
                        <a:pt x="1001115" y="370047"/>
                      </a:cubicBezTo>
                      <a:cubicBezTo>
                        <a:pt x="985723" y="389287"/>
                        <a:pt x="973110" y="402755"/>
                        <a:pt x="973110" y="402755"/>
                      </a:cubicBezTo>
                      <a:lnTo>
                        <a:pt x="1012017" y="444441"/>
                      </a:lnTo>
                      <a:lnTo>
                        <a:pt x="1026340" y="459833"/>
                      </a:lnTo>
                      <a:lnTo>
                        <a:pt x="927575" y="459833"/>
                      </a:lnTo>
                      <a:cubicBezTo>
                        <a:pt x="676816" y="547267"/>
                        <a:pt x="710379" y="735391"/>
                        <a:pt x="710379" y="735391"/>
                      </a:cubicBezTo>
                      <a:cubicBezTo>
                        <a:pt x="704179" y="737315"/>
                        <a:pt x="698194" y="739025"/>
                        <a:pt x="692208" y="740521"/>
                      </a:cubicBezTo>
                      <a:cubicBezTo>
                        <a:pt x="681519" y="743301"/>
                        <a:pt x="671258" y="745652"/>
                        <a:pt x="661424" y="747790"/>
                      </a:cubicBezTo>
                      <a:cubicBezTo>
                        <a:pt x="514346" y="777077"/>
                        <a:pt x="445724" y="715082"/>
                        <a:pt x="437173" y="703111"/>
                      </a:cubicBezTo>
                      <a:cubicBezTo>
                        <a:pt x="427767" y="689857"/>
                        <a:pt x="425842" y="676602"/>
                        <a:pt x="425842" y="676602"/>
                      </a:cubicBezTo>
                      <a:lnTo>
                        <a:pt x="399120" y="676602"/>
                      </a:lnTo>
                      <a:cubicBezTo>
                        <a:pt x="399120" y="676602"/>
                        <a:pt x="313610" y="657576"/>
                        <a:pt x="298432" y="644322"/>
                      </a:cubicBezTo>
                      <a:cubicBezTo>
                        <a:pt x="283254" y="631068"/>
                        <a:pt x="277482" y="596436"/>
                        <a:pt x="277482" y="596436"/>
                      </a:cubicBezTo>
                      <a:lnTo>
                        <a:pt x="231947" y="596436"/>
                      </a:lnTo>
                      <a:lnTo>
                        <a:pt x="79952" y="539785"/>
                      </a:lnTo>
                      <a:lnTo>
                        <a:pt x="74180" y="469453"/>
                      </a:lnTo>
                      <a:lnTo>
                        <a:pt x="0" y="435890"/>
                      </a:lnTo>
                      <a:lnTo>
                        <a:pt x="19026" y="230024"/>
                      </a:lnTo>
                      <a:lnTo>
                        <a:pt x="91282" y="230024"/>
                      </a:lnTo>
                      <a:lnTo>
                        <a:pt x="91282" y="133183"/>
                      </a:lnTo>
                      <a:lnTo>
                        <a:pt x="123563" y="81876"/>
                      </a:lnTo>
                      <a:lnTo>
                        <a:pt x="132969" y="43824"/>
                      </a:lnTo>
                      <a:lnTo>
                        <a:pt x="273634" y="43824"/>
                      </a:lnTo>
                      <a:lnTo>
                        <a:pt x="448503" y="87435"/>
                      </a:lnTo>
                      <a:lnTo>
                        <a:pt x="455985" y="121639"/>
                      </a:lnTo>
                      <a:lnTo>
                        <a:pt x="482707" y="127411"/>
                      </a:lnTo>
                      <a:lnTo>
                        <a:pt x="482707" y="230024"/>
                      </a:lnTo>
                      <a:cubicBezTo>
                        <a:pt x="482707" y="230024"/>
                        <a:pt x="497885" y="193896"/>
                        <a:pt x="513063" y="174869"/>
                      </a:cubicBezTo>
                      <a:cubicBezTo>
                        <a:pt x="528242" y="155843"/>
                        <a:pt x="592802" y="157767"/>
                        <a:pt x="592802" y="157767"/>
                      </a:cubicBezTo>
                      <a:cubicBezTo>
                        <a:pt x="592802" y="157767"/>
                        <a:pt x="596650" y="98765"/>
                        <a:pt x="606056" y="68408"/>
                      </a:cubicBezTo>
                      <a:cubicBezTo>
                        <a:pt x="612469" y="47672"/>
                        <a:pt x="643894" y="23302"/>
                        <a:pt x="663134" y="10048"/>
                      </a:cubicBezTo>
                      <a:cubicBezTo>
                        <a:pt x="672113" y="3848"/>
                        <a:pt x="678312" y="0"/>
                        <a:pt x="678312" y="0"/>
                      </a:cubicBezTo>
                      <a:lnTo>
                        <a:pt x="751851" y="115867"/>
                      </a:lnTo>
                      <a:cubicBezTo>
                        <a:pt x="751851" y="115867"/>
                        <a:pt x="774725" y="58148"/>
                        <a:pt x="818977" y="57934"/>
                      </a:cubicBezTo>
                      <a:cubicBezTo>
                        <a:pt x="857029" y="57720"/>
                        <a:pt x="991708" y="79953"/>
                        <a:pt x="1029547" y="86366"/>
                      </a:cubicBezTo>
                      <a:cubicBezTo>
                        <a:pt x="1037029" y="119074"/>
                        <a:pt x="1035746" y="140665"/>
                        <a:pt x="1035746" y="140665"/>
                      </a:cubicBezTo>
                      <a:cubicBezTo>
                        <a:pt x="1035746" y="140665"/>
                        <a:pt x="1062254" y="217197"/>
                        <a:pt x="1057979" y="265938"/>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5" name="Graphic 2">
                  <a:extLst>
                    <a:ext uri="{FF2B5EF4-FFF2-40B4-BE49-F238E27FC236}">
                      <a16:creationId xmlns:a16="http://schemas.microsoft.com/office/drawing/2014/main" id="{CEE9613A-071F-428E-9ED6-1BB92F7490DE}"/>
                    </a:ext>
                  </a:extLst>
                </p:cNvPr>
                <p:cNvSpPr/>
                <p:nvPr/>
              </p:nvSpPr>
              <p:spPr>
                <a:xfrm>
                  <a:off x="5766447" y="5578922"/>
                  <a:ext cx="36254" cy="29843"/>
                </a:xfrm>
                <a:custGeom>
                  <a:avLst/>
                  <a:gdLst>
                    <a:gd name="connsiteX0" fmla="*/ 351235 w 351234"/>
                    <a:gd name="connsiteY0" fmla="*/ 259615 h 289116"/>
                    <a:gd name="connsiteX1" fmla="*/ 140665 w 351234"/>
                    <a:gd name="connsiteY1" fmla="*/ 231183 h 289116"/>
                    <a:gd name="connsiteX2" fmla="*/ 73539 w 351234"/>
                    <a:gd name="connsiteY2" fmla="*/ 289117 h 289116"/>
                    <a:gd name="connsiteX3" fmla="*/ 0 w 351234"/>
                    <a:gd name="connsiteY3" fmla="*/ 173249 h 289116"/>
                    <a:gd name="connsiteX4" fmla="*/ 0 w 351234"/>
                    <a:gd name="connsiteY4" fmla="*/ 55459 h 289116"/>
                    <a:gd name="connsiteX5" fmla="*/ 117790 w 351234"/>
                    <a:gd name="connsiteY5" fmla="*/ 2870 h 289116"/>
                    <a:gd name="connsiteX6" fmla="*/ 344821 w 351234"/>
                    <a:gd name="connsiteY6" fmla="*/ 236741 h 289116"/>
                    <a:gd name="connsiteX7" fmla="*/ 345890 w 351234"/>
                    <a:gd name="connsiteY7" fmla="*/ 239734 h 289116"/>
                    <a:gd name="connsiteX8" fmla="*/ 351235 w 351234"/>
                    <a:gd name="connsiteY8" fmla="*/ 259615 h 28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4" h="289116">
                      <a:moveTo>
                        <a:pt x="351235" y="259615"/>
                      </a:moveTo>
                      <a:cubicBezTo>
                        <a:pt x="313396" y="253202"/>
                        <a:pt x="178717" y="230969"/>
                        <a:pt x="140665" y="231183"/>
                      </a:cubicBezTo>
                      <a:cubicBezTo>
                        <a:pt x="96413" y="231610"/>
                        <a:pt x="73539" y="289117"/>
                        <a:pt x="73539" y="289117"/>
                      </a:cubicBezTo>
                      <a:lnTo>
                        <a:pt x="0" y="173249"/>
                      </a:lnTo>
                      <a:lnTo>
                        <a:pt x="0" y="55459"/>
                      </a:lnTo>
                      <a:cubicBezTo>
                        <a:pt x="0" y="55459"/>
                        <a:pt x="9620" y="-14873"/>
                        <a:pt x="117790" y="2870"/>
                      </a:cubicBezTo>
                      <a:cubicBezTo>
                        <a:pt x="223824" y="20186"/>
                        <a:pt x="327719" y="188428"/>
                        <a:pt x="344821" y="236741"/>
                      </a:cubicBezTo>
                      <a:cubicBezTo>
                        <a:pt x="345249" y="237810"/>
                        <a:pt x="345462" y="238879"/>
                        <a:pt x="345890" y="239734"/>
                      </a:cubicBezTo>
                      <a:cubicBezTo>
                        <a:pt x="348028" y="246575"/>
                        <a:pt x="349738" y="253202"/>
                        <a:pt x="351235" y="259615"/>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6" name="Graphic 2">
                  <a:extLst>
                    <a:ext uri="{FF2B5EF4-FFF2-40B4-BE49-F238E27FC236}">
                      <a16:creationId xmlns:a16="http://schemas.microsoft.com/office/drawing/2014/main" id="{8C388500-060E-47F9-B5B9-5FA1A2A37C2E}"/>
                    </a:ext>
                  </a:extLst>
                </p:cNvPr>
                <p:cNvSpPr/>
                <p:nvPr/>
              </p:nvSpPr>
              <p:spPr>
                <a:xfrm>
                  <a:off x="5764903" y="5596782"/>
                  <a:ext cx="40781" cy="30052"/>
                </a:xfrm>
                <a:custGeom>
                  <a:avLst/>
                  <a:gdLst>
                    <a:gd name="connsiteX0" fmla="*/ 394631 w 395100"/>
                    <a:gd name="connsiteY0" fmla="*/ 266152 h 291142"/>
                    <a:gd name="connsiteX1" fmla="*/ 393348 w 395100"/>
                    <a:gd name="connsiteY1" fmla="*/ 275771 h 291142"/>
                    <a:gd name="connsiteX2" fmla="*/ 392066 w 395100"/>
                    <a:gd name="connsiteY2" fmla="*/ 280902 h 291142"/>
                    <a:gd name="connsiteX3" fmla="*/ 151995 w 395100"/>
                    <a:gd name="connsiteY3" fmla="*/ 235795 h 291142"/>
                    <a:gd name="connsiteX4" fmla="*/ 0 w 395100"/>
                    <a:gd name="connsiteY4" fmla="*/ 10047 h 291142"/>
                    <a:gd name="connsiteX5" fmla="*/ 15178 w 395100"/>
                    <a:gd name="connsiteY5" fmla="*/ 0 h 291142"/>
                    <a:gd name="connsiteX6" fmla="*/ 88717 w 395100"/>
                    <a:gd name="connsiteY6" fmla="*/ 115867 h 291142"/>
                    <a:gd name="connsiteX7" fmla="*/ 155843 w 395100"/>
                    <a:gd name="connsiteY7" fmla="*/ 57933 h 291142"/>
                    <a:gd name="connsiteX8" fmla="*/ 366412 w 395100"/>
                    <a:gd name="connsiteY8" fmla="*/ 86365 h 291142"/>
                    <a:gd name="connsiteX9" fmla="*/ 372612 w 395100"/>
                    <a:gd name="connsiteY9" fmla="*/ 140665 h 291142"/>
                    <a:gd name="connsiteX10" fmla="*/ 394631 w 395100"/>
                    <a:gd name="connsiteY10" fmla="*/ 266152 h 29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5100" h="291142">
                      <a:moveTo>
                        <a:pt x="394631" y="266152"/>
                      </a:moveTo>
                      <a:cubicBezTo>
                        <a:pt x="394417" y="269572"/>
                        <a:pt x="393990" y="272778"/>
                        <a:pt x="393348" y="275771"/>
                      </a:cubicBezTo>
                      <a:cubicBezTo>
                        <a:pt x="392921" y="277482"/>
                        <a:pt x="392493" y="279192"/>
                        <a:pt x="392066" y="280902"/>
                      </a:cubicBezTo>
                      <a:cubicBezTo>
                        <a:pt x="327078" y="310189"/>
                        <a:pt x="223824" y="270854"/>
                        <a:pt x="151995" y="235795"/>
                      </a:cubicBezTo>
                      <a:cubicBezTo>
                        <a:pt x="82304" y="201805"/>
                        <a:pt x="19026" y="57078"/>
                        <a:pt x="0" y="10047"/>
                      </a:cubicBezTo>
                      <a:cubicBezTo>
                        <a:pt x="8979" y="3848"/>
                        <a:pt x="15178" y="0"/>
                        <a:pt x="15178" y="0"/>
                      </a:cubicBezTo>
                      <a:lnTo>
                        <a:pt x="88717" y="115867"/>
                      </a:lnTo>
                      <a:cubicBezTo>
                        <a:pt x="88717" y="115867"/>
                        <a:pt x="111591" y="58147"/>
                        <a:pt x="155843" y="57933"/>
                      </a:cubicBezTo>
                      <a:cubicBezTo>
                        <a:pt x="193895" y="57720"/>
                        <a:pt x="328574" y="79952"/>
                        <a:pt x="366412" y="86365"/>
                      </a:cubicBezTo>
                      <a:cubicBezTo>
                        <a:pt x="373895" y="119073"/>
                        <a:pt x="372612" y="140665"/>
                        <a:pt x="372612" y="140665"/>
                      </a:cubicBezTo>
                      <a:cubicBezTo>
                        <a:pt x="372612" y="140665"/>
                        <a:pt x="398906" y="217410"/>
                        <a:pt x="394631" y="266152"/>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7" name="Graphic 2">
                  <a:extLst>
                    <a:ext uri="{FF2B5EF4-FFF2-40B4-BE49-F238E27FC236}">
                      <a16:creationId xmlns:a16="http://schemas.microsoft.com/office/drawing/2014/main" id="{303696EB-F439-4567-820F-652E8A6FC13B}"/>
                    </a:ext>
                  </a:extLst>
                </p:cNvPr>
                <p:cNvSpPr/>
                <p:nvPr/>
              </p:nvSpPr>
              <p:spPr>
                <a:xfrm>
                  <a:off x="5757831" y="5628889"/>
                  <a:ext cx="43439" cy="45080"/>
                </a:xfrm>
                <a:custGeom>
                  <a:avLst/>
                  <a:gdLst>
                    <a:gd name="connsiteX0" fmla="*/ 403926 w 420847"/>
                    <a:gd name="connsiteY0" fmla="*/ 44248 h 436741"/>
                    <a:gd name="connsiteX1" fmla="*/ 368011 w 420847"/>
                    <a:gd name="connsiteY1" fmla="*/ 76528 h 436741"/>
                    <a:gd name="connsiteX2" fmla="*/ 365446 w 420847"/>
                    <a:gd name="connsiteY2" fmla="*/ 78452 h 436741"/>
                    <a:gd name="connsiteX3" fmla="*/ 143760 w 420847"/>
                    <a:gd name="connsiteY3" fmla="*/ 208855 h 436741"/>
                    <a:gd name="connsiteX4" fmla="*/ 97370 w 420847"/>
                    <a:gd name="connsiteY4" fmla="*/ 429472 h 436741"/>
                    <a:gd name="connsiteX5" fmla="*/ 66586 w 420847"/>
                    <a:gd name="connsiteY5" fmla="*/ 436741 h 436741"/>
                    <a:gd name="connsiteX6" fmla="*/ 102 w 420847"/>
                    <a:gd name="connsiteY6" fmla="*/ 345886 h 436741"/>
                    <a:gd name="connsiteX7" fmla="*/ 68511 w 420847"/>
                    <a:gd name="connsiteY7" fmla="*/ 168452 h 436741"/>
                    <a:gd name="connsiteX8" fmla="*/ 148463 w 420847"/>
                    <a:gd name="connsiteY8" fmla="*/ 45744 h 436741"/>
                    <a:gd name="connsiteX9" fmla="*/ 197631 w 420847"/>
                    <a:gd name="connsiteY9" fmla="*/ 6195 h 436741"/>
                    <a:gd name="connsiteX10" fmla="*/ 360529 w 420847"/>
                    <a:gd name="connsiteY10" fmla="*/ 13677 h 436741"/>
                    <a:gd name="connsiteX11" fmla="*/ 399864 w 420847"/>
                    <a:gd name="connsiteY11" fmla="*/ 15815 h 436741"/>
                    <a:gd name="connsiteX12" fmla="*/ 406705 w 420847"/>
                    <a:gd name="connsiteY12" fmla="*/ 14960 h 436741"/>
                    <a:gd name="connsiteX13" fmla="*/ 403926 w 420847"/>
                    <a:gd name="connsiteY13" fmla="*/ 44248 h 4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847" h="436741">
                      <a:moveTo>
                        <a:pt x="403926" y="44248"/>
                      </a:moveTo>
                      <a:cubicBezTo>
                        <a:pt x="390886" y="57502"/>
                        <a:pt x="374211" y="71397"/>
                        <a:pt x="368011" y="76528"/>
                      </a:cubicBezTo>
                      <a:cubicBezTo>
                        <a:pt x="366301" y="77810"/>
                        <a:pt x="365446" y="78452"/>
                        <a:pt x="365446" y="78452"/>
                      </a:cubicBezTo>
                      <a:cubicBezTo>
                        <a:pt x="365446" y="78452"/>
                        <a:pt x="212810" y="48737"/>
                        <a:pt x="143760" y="208855"/>
                      </a:cubicBezTo>
                      <a:cubicBezTo>
                        <a:pt x="95874" y="320019"/>
                        <a:pt x="93950" y="394413"/>
                        <a:pt x="97370" y="429472"/>
                      </a:cubicBezTo>
                      <a:cubicBezTo>
                        <a:pt x="86682" y="432252"/>
                        <a:pt x="76420" y="434603"/>
                        <a:pt x="66586" y="436741"/>
                      </a:cubicBezTo>
                      <a:cubicBezTo>
                        <a:pt x="36444" y="419639"/>
                        <a:pt x="-2249" y="389282"/>
                        <a:pt x="102" y="345886"/>
                      </a:cubicBezTo>
                      <a:cubicBezTo>
                        <a:pt x="1813" y="312109"/>
                        <a:pt x="31100" y="238570"/>
                        <a:pt x="68511" y="168452"/>
                      </a:cubicBezTo>
                      <a:cubicBezTo>
                        <a:pt x="93308" y="121848"/>
                        <a:pt x="121955" y="76741"/>
                        <a:pt x="148463" y="45744"/>
                      </a:cubicBezTo>
                      <a:cubicBezTo>
                        <a:pt x="166206" y="25008"/>
                        <a:pt x="183308" y="10471"/>
                        <a:pt x="197631" y="6195"/>
                      </a:cubicBezTo>
                      <a:cubicBezTo>
                        <a:pt x="248083" y="-8769"/>
                        <a:pt x="311360" y="7264"/>
                        <a:pt x="360529" y="13677"/>
                      </a:cubicBezTo>
                      <a:cubicBezTo>
                        <a:pt x="375066" y="15602"/>
                        <a:pt x="388534" y="16671"/>
                        <a:pt x="399864" y="15815"/>
                      </a:cubicBezTo>
                      <a:cubicBezTo>
                        <a:pt x="402215" y="15602"/>
                        <a:pt x="404567" y="15388"/>
                        <a:pt x="406705" y="14960"/>
                      </a:cubicBezTo>
                      <a:cubicBezTo>
                        <a:pt x="430648" y="11540"/>
                        <a:pt x="420386" y="27359"/>
                        <a:pt x="403926" y="4424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8" name="Graphic 2">
                  <a:extLst>
                    <a:ext uri="{FF2B5EF4-FFF2-40B4-BE49-F238E27FC236}">
                      <a16:creationId xmlns:a16="http://schemas.microsoft.com/office/drawing/2014/main" id="{DB787CF4-D57B-4993-8898-5194430FF598}"/>
                    </a:ext>
                  </a:extLst>
                </p:cNvPr>
                <p:cNvSpPr/>
                <p:nvPr/>
              </p:nvSpPr>
              <p:spPr>
                <a:xfrm>
                  <a:off x="5779408" y="5609051"/>
                  <a:ext cx="26275" cy="16923"/>
                </a:xfrm>
                <a:custGeom>
                  <a:avLst/>
                  <a:gdLst>
                    <a:gd name="connsiteX0" fmla="*/ 254094 w 254561"/>
                    <a:gd name="connsiteY0" fmla="*/ 147292 h 163949"/>
                    <a:gd name="connsiteX1" fmla="*/ 139724 w 254561"/>
                    <a:gd name="connsiteY1" fmla="*/ 156271 h 163949"/>
                    <a:gd name="connsiteX2" fmla="*/ 129 w 254561"/>
                    <a:gd name="connsiteY2" fmla="*/ 61354 h 163949"/>
                    <a:gd name="connsiteX3" fmla="*/ 52290 w 254561"/>
                    <a:gd name="connsiteY3" fmla="*/ 0 h 163949"/>
                    <a:gd name="connsiteX4" fmla="*/ 231862 w 254561"/>
                    <a:gd name="connsiteY4" fmla="*/ 21806 h 163949"/>
                    <a:gd name="connsiteX5" fmla="*/ 254094 w 254561"/>
                    <a:gd name="connsiteY5" fmla="*/ 147292 h 16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61" h="163949">
                      <a:moveTo>
                        <a:pt x="254094" y="147292"/>
                      </a:moveTo>
                      <a:cubicBezTo>
                        <a:pt x="229724" y="161829"/>
                        <a:pt x="192527" y="171449"/>
                        <a:pt x="139724" y="156271"/>
                      </a:cubicBezTo>
                      <a:cubicBezTo>
                        <a:pt x="27064" y="123990"/>
                        <a:pt x="-2223" y="84014"/>
                        <a:pt x="129" y="61354"/>
                      </a:cubicBezTo>
                      <a:cubicBezTo>
                        <a:pt x="2480" y="38480"/>
                        <a:pt x="52290" y="0"/>
                        <a:pt x="52290" y="0"/>
                      </a:cubicBezTo>
                      <a:cubicBezTo>
                        <a:pt x="52290" y="0"/>
                        <a:pt x="196803" y="56437"/>
                        <a:pt x="231862" y="21806"/>
                      </a:cubicBezTo>
                      <a:cubicBezTo>
                        <a:pt x="231862" y="21806"/>
                        <a:pt x="258370" y="98551"/>
                        <a:pt x="254094" y="14729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69" name="Graphic 2">
                  <a:extLst>
                    <a:ext uri="{FF2B5EF4-FFF2-40B4-BE49-F238E27FC236}">
                      <a16:creationId xmlns:a16="http://schemas.microsoft.com/office/drawing/2014/main" id="{E8911413-FB1E-402A-ADA3-CEA8F61B0100}"/>
                    </a:ext>
                  </a:extLst>
                </p:cNvPr>
                <p:cNvSpPr/>
                <p:nvPr/>
              </p:nvSpPr>
              <p:spPr>
                <a:xfrm>
                  <a:off x="5764880" y="5613508"/>
                  <a:ext cx="7122" cy="4578"/>
                </a:xfrm>
                <a:custGeom>
                  <a:avLst/>
                  <a:gdLst>
                    <a:gd name="connsiteX0" fmla="*/ 61782 w 68996"/>
                    <a:gd name="connsiteY0" fmla="*/ 0 h 44354"/>
                    <a:gd name="connsiteX1" fmla="*/ 66057 w 68996"/>
                    <a:gd name="connsiteY1" fmla="*/ 33349 h 44354"/>
                    <a:gd name="connsiteX2" fmla="*/ 0 w 68996"/>
                    <a:gd name="connsiteY2" fmla="*/ 44252 h 44354"/>
                    <a:gd name="connsiteX3" fmla="*/ 15178 w 68996"/>
                    <a:gd name="connsiteY3" fmla="*/ 6627 h 44354"/>
                    <a:gd name="connsiteX4" fmla="*/ 61782 w 68996"/>
                    <a:gd name="connsiteY4" fmla="*/ 0 h 4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6" h="44354">
                      <a:moveTo>
                        <a:pt x="61782" y="0"/>
                      </a:moveTo>
                      <a:cubicBezTo>
                        <a:pt x="61782" y="0"/>
                        <a:pt x="74608" y="20522"/>
                        <a:pt x="66057" y="33349"/>
                      </a:cubicBezTo>
                      <a:cubicBezTo>
                        <a:pt x="57506" y="46175"/>
                        <a:pt x="0" y="44252"/>
                        <a:pt x="0" y="44252"/>
                      </a:cubicBezTo>
                      <a:lnTo>
                        <a:pt x="15178" y="6627"/>
                      </a:lnTo>
                      <a:lnTo>
                        <a:pt x="61782"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0" name="Graphic 2">
                  <a:extLst>
                    <a:ext uri="{FF2B5EF4-FFF2-40B4-BE49-F238E27FC236}">
                      <a16:creationId xmlns:a16="http://schemas.microsoft.com/office/drawing/2014/main" id="{A8BE4EE5-9ED0-4C54-A21A-FBE8CEF76BF7}"/>
                    </a:ext>
                  </a:extLst>
                </p:cNvPr>
                <p:cNvSpPr/>
                <p:nvPr/>
              </p:nvSpPr>
              <p:spPr>
                <a:xfrm>
                  <a:off x="5755200" y="5608700"/>
                  <a:ext cx="11280" cy="9472"/>
                </a:xfrm>
                <a:custGeom>
                  <a:avLst/>
                  <a:gdLst>
                    <a:gd name="connsiteX0" fmla="*/ 9775 w 109286"/>
                    <a:gd name="connsiteY0" fmla="*/ 3405 h 91767"/>
                    <a:gd name="connsiteX1" fmla="*/ 78611 w 109286"/>
                    <a:gd name="connsiteY1" fmla="*/ 12384 h 91767"/>
                    <a:gd name="connsiteX2" fmla="*/ 108967 w 109286"/>
                    <a:gd name="connsiteY2" fmla="*/ 53215 h 91767"/>
                    <a:gd name="connsiteX3" fmla="*/ 93789 w 109286"/>
                    <a:gd name="connsiteY3" fmla="*/ 90840 h 91767"/>
                    <a:gd name="connsiteX4" fmla="*/ 12981 w 109286"/>
                    <a:gd name="connsiteY4" fmla="*/ 42313 h 91767"/>
                    <a:gd name="connsiteX5" fmla="*/ 9775 w 109286"/>
                    <a:gd name="connsiteY5" fmla="*/ 3405 h 9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286" h="91767">
                      <a:moveTo>
                        <a:pt x="9775" y="3405"/>
                      </a:moveTo>
                      <a:cubicBezTo>
                        <a:pt x="9775" y="3405"/>
                        <a:pt x="52102" y="-8566"/>
                        <a:pt x="78611" y="12384"/>
                      </a:cubicBezTo>
                      <a:cubicBezTo>
                        <a:pt x="105119" y="33334"/>
                        <a:pt x="108967" y="53215"/>
                        <a:pt x="108967" y="53215"/>
                      </a:cubicBezTo>
                      <a:cubicBezTo>
                        <a:pt x="108967" y="53215"/>
                        <a:pt x="112815" y="86992"/>
                        <a:pt x="93789" y="90840"/>
                      </a:cubicBezTo>
                      <a:cubicBezTo>
                        <a:pt x="74763" y="94688"/>
                        <a:pt x="32435" y="88061"/>
                        <a:pt x="12981" y="42313"/>
                      </a:cubicBezTo>
                      <a:cubicBezTo>
                        <a:pt x="12981" y="42313"/>
                        <a:pt x="-13954" y="16232"/>
                        <a:pt x="9775" y="3405"/>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1" name="Graphic 2">
                  <a:extLst>
                    <a:ext uri="{FF2B5EF4-FFF2-40B4-BE49-F238E27FC236}">
                      <a16:creationId xmlns:a16="http://schemas.microsoft.com/office/drawing/2014/main" id="{5D8A2421-19E2-4DAB-B54B-47F2A10045EE}"/>
                    </a:ext>
                  </a:extLst>
                </p:cNvPr>
                <p:cNvSpPr/>
                <p:nvPr/>
              </p:nvSpPr>
              <p:spPr>
                <a:xfrm>
                  <a:off x="5753167" y="5621497"/>
                  <a:ext cx="19988" cy="24801"/>
                </a:xfrm>
                <a:custGeom>
                  <a:avLst/>
                  <a:gdLst>
                    <a:gd name="connsiteX0" fmla="*/ 193652 w 193652"/>
                    <a:gd name="connsiteY0" fmla="*/ 117567 h 240273"/>
                    <a:gd name="connsiteX1" fmla="*/ 113700 w 193652"/>
                    <a:gd name="connsiteY1" fmla="*/ 240274 h 240273"/>
                    <a:gd name="connsiteX2" fmla="*/ 69234 w 193652"/>
                    <a:gd name="connsiteY2" fmla="*/ 206070 h 240273"/>
                    <a:gd name="connsiteX3" fmla="*/ 1040 w 193652"/>
                    <a:gd name="connsiteY3" fmla="*/ 36973 h 240273"/>
                    <a:gd name="connsiteX4" fmla="*/ 9804 w 193652"/>
                    <a:gd name="connsiteY4" fmla="*/ 15381 h 240273"/>
                    <a:gd name="connsiteX5" fmla="*/ 34816 w 193652"/>
                    <a:gd name="connsiteY5" fmla="*/ 2982 h 240273"/>
                    <a:gd name="connsiteX6" fmla="*/ 69020 w 193652"/>
                    <a:gd name="connsiteY6" fmla="*/ 9823 h 240273"/>
                    <a:gd name="connsiteX7" fmla="*/ 193652 w 193652"/>
                    <a:gd name="connsiteY7" fmla="*/ 117567 h 24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652" h="240273">
                      <a:moveTo>
                        <a:pt x="193652" y="117567"/>
                      </a:moveTo>
                      <a:cubicBezTo>
                        <a:pt x="167144" y="148564"/>
                        <a:pt x="138498" y="193671"/>
                        <a:pt x="113700" y="240274"/>
                      </a:cubicBezTo>
                      <a:cubicBezTo>
                        <a:pt x="113700" y="240274"/>
                        <a:pt x="84626" y="225096"/>
                        <a:pt x="69234" y="206070"/>
                      </a:cubicBezTo>
                      <a:cubicBezTo>
                        <a:pt x="56835" y="190464"/>
                        <a:pt x="15576" y="77804"/>
                        <a:pt x="1040" y="36973"/>
                      </a:cubicBezTo>
                      <a:cubicBezTo>
                        <a:pt x="-1953" y="28635"/>
                        <a:pt x="1681" y="19443"/>
                        <a:pt x="9804" y="15381"/>
                      </a:cubicBezTo>
                      <a:lnTo>
                        <a:pt x="34816" y="2982"/>
                      </a:lnTo>
                      <a:cubicBezTo>
                        <a:pt x="46360" y="-2790"/>
                        <a:pt x="60469" y="-10"/>
                        <a:pt x="69020" y="9823"/>
                      </a:cubicBezTo>
                      <a:cubicBezTo>
                        <a:pt x="94674" y="39538"/>
                        <a:pt x="150897" y="99823"/>
                        <a:pt x="193652" y="117567"/>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2" name="Graphic 2">
                  <a:extLst>
                    <a:ext uri="{FF2B5EF4-FFF2-40B4-BE49-F238E27FC236}">
                      <a16:creationId xmlns:a16="http://schemas.microsoft.com/office/drawing/2014/main" id="{0A3149DE-123B-4F72-BB5F-557EC47EA39B}"/>
                    </a:ext>
                  </a:extLst>
                </p:cNvPr>
                <p:cNvSpPr/>
                <p:nvPr/>
              </p:nvSpPr>
              <p:spPr>
                <a:xfrm>
                  <a:off x="5744065" y="5635795"/>
                  <a:ext cx="10495" cy="26399"/>
                </a:xfrm>
                <a:custGeom>
                  <a:avLst/>
                  <a:gdLst>
                    <a:gd name="connsiteX0" fmla="*/ 38979 w 101680"/>
                    <a:gd name="connsiteY0" fmla="*/ 0 h 255751"/>
                    <a:gd name="connsiteX1" fmla="*/ 2850 w 101680"/>
                    <a:gd name="connsiteY1" fmla="*/ 95344 h 255751"/>
                    <a:gd name="connsiteX2" fmla="*/ 2850 w 101680"/>
                    <a:gd name="connsiteY2" fmla="*/ 189619 h 255751"/>
                    <a:gd name="connsiteX3" fmla="*/ 88147 w 101680"/>
                    <a:gd name="connsiteY3" fmla="*/ 252897 h 255751"/>
                    <a:gd name="connsiteX4" fmla="*/ 93492 w 101680"/>
                    <a:gd name="connsiteY4" fmla="*/ 131900 h 255751"/>
                    <a:gd name="connsiteX5" fmla="*/ 38979 w 101680"/>
                    <a:gd name="connsiteY5" fmla="*/ 0 h 25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80" h="255751">
                      <a:moveTo>
                        <a:pt x="38979" y="0"/>
                      </a:moveTo>
                      <a:cubicBezTo>
                        <a:pt x="38979" y="0"/>
                        <a:pt x="9264" y="59216"/>
                        <a:pt x="2850" y="95344"/>
                      </a:cubicBezTo>
                      <a:cubicBezTo>
                        <a:pt x="-3563" y="131472"/>
                        <a:pt x="2850" y="189619"/>
                        <a:pt x="2850" y="189619"/>
                      </a:cubicBezTo>
                      <a:cubicBezTo>
                        <a:pt x="2850" y="189619"/>
                        <a:pt x="74038" y="271923"/>
                        <a:pt x="88147" y="252897"/>
                      </a:cubicBezTo>
                      <a:cubicBezTo>
                        <a:pt x="102256" y="233871"/>
                        <a:pt x="107387" y="163539"/>
                        <a:pt x="93492" y="131900"/>
                      </a:cubicBezTo>
                      <a:cubicBezTo>
                        <a:pt x="79382" y="100475"/>
                        <a:pt x="50309" y="48313"/>
                        <a:pt x="38979" y="0"/>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3" name="Graphic 2">
                  <a:extLst>
                    <a:ext uri="{FF2B5EF4-FFF2-40B4-BE49-F238E27FC236}">
                      <a16:creationId xmlns:a16="http://schemas.microsoft.com/office/drawing/2014/main" id="{BEAFAB42-B2A3-4266-9D3C-A9D2B2B23B85}"/>
                    </a:ext>
                  </a:extLst>
                </p:cNvPr>
                <p:cNvSpPr/>
                <p:nvPr/>
              </p:nvSpPr>
              <p:spPr>
                <a:xfrm>
                  <a:off x="5726940" y="5619930"/>
                  <a:ext cx="19317" cy="13536"/>
                </a:xfrm>
                <a:custGeom>
                  <a:avLst/>
                  <a:gdLst>
                    <a:gd name="connsiteX0" fmla="*/ 187146 w 187145"/>
                    <a:gd name="connsiteY0" fmla="*/ 5772 h 131137"/>
                    <a:gd name="connsiteX1" fmla="*/ 24675 w 187145"/>
                    <a:gd name="connsiteY1" fmla="*/ 0 h 131137"/>
                    <a:gd name="connsiteX2" fmla="*/ 946 w 187145"/>
                    <a:gd name="connsiteY2" fmla="*/ 33349 h 131137"/>
                    <a:gd name="connsiteX3" fmla="*/ 123013 w 187145"/>
                    <a:gd name="connsiteY3" fmla="*/ 126342 h 131137"/>
                    <a:gd name="connsiteX4" fmla="*/ 162561 w 187145"/>
                    <a:gd name="connsiteY4" fmla="*/ 119287 h 131137"/>
                    <a:gd name="connsiteX5" fmla="*/ 186932 w 187145"/>
                    <a:gd name="connsiteY5" fmla="*/ 70333 h 131137"/>
                    <a:gd name="connsiteX6" fmla="*/ 187146 w 187145"/>
                    <a:gd name="connsiteY6" fmla="*/ 5772 h 13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45" h="131137">
                      <a:moveTo>
                        <a:pt x="187146" y="5772"/>
                      </a:moveTo>
                      <a:lnTo>
                        <a:pt x="24675" y="0"/>
                      </a:lnTo>
                      <a:cubicBezTo>
                        <a:pt x="24675" y="0"/>
                        <a:pt x="-5681" y="13254"/>
                        <a:pt x="946" y="33349"/>
                      </a:cubicBezTo>
                      <a:cubicBezTo>
                        <a:pt x="5863" y="48314"/>
                        <a:pt x="83891" y="100689"/>
                        <a:pt x="123013" y="126342"/>
                      </a:cubicBezTo>
                      <a:cubicBezTo>
                        <a:pt x="136053" y="134893"/>
                        <a:pt x="153369" y="131686"/>
                        <a:pt x="162561" y="119287"/>
                      </a:cubicBezTo>
                      <a:cubicBezTo>
                        <a:pt x="174746" y="103040"/>
                        <a:pt x="188642" y="81662"/>
                        <a:pt x="186932" y="70333"/>
                      </a:cubicBezTo>
                      <a:cubicBezTo>
                        <a:pt x="184366" y="50451"/>
                        <a:pt x="184794" y="11330"/>
                        <a:pt x="187146" y="5772"/>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4" name="Graphic 2">
                  <a:extLst>
                    <a:ext uri="{FF2B5EF4-FFF2-40B4-BE49-F238E27FC236}">
                      <a16:creationId xmlns:a16="http://schemas.microsoft.com/office/drawing/2014/main" id="{34008DCF-4D9F-4220-9160-CB69F26349F8}"/>
                    </a:ext>
                  </a:extLst>
                </p:cNvPr>
                <p:cNvSpPr/>
                <p:nvPr/>
              </p:nvSpPr>
              <p:spPr>
                <a:xfrm>
                  <a:off x="5731186" y="5636413"/>
                  <a:ext cx="9576" cy="14034"/>
                </a:xfrm>
                <a:custGeom>
                  <a:avLst/>
                  <a:gdLst>
                    <a:gd name="connsiteX0" fmla="*/ 92779 w 92778"/>
                    <a:gd name="connsiteY0" fmla="*/ 33349 h 135961"/>
                    <a:gd name="connsiteX1" fmla="*/ 79525 w 92778"/>
                    <a:gd name="connsiteY1" fmla="*/ 135962 h 135961"/>
                    <a:gd name="connsiteX2" fmla="*/ 3421 w 92778"/>
                    <a:gd name="connsiteY2" fmla="*/ 84656 h 135961"/>
                    <a:gd name="connsiteX3" fmla="*/ 3421 w 92778"/>
                    <a:gd name="connsiteY3" fmla="*/ 0 h 135961"/>
                    <a:gd name="connsiteX4" fmla="*/ 92779 w 92778"/>
                    <a:gd name="connsiteY4" fmla="*/ 33349 h 135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78" h="135961">
                      <a:moveTo>
                        <a:pt x="92779" y="33349"/>
                      </a:moveTo>
                      <a:cubicBezTo>
                        <a:pt x="92779" y="33349"/>
                        <a:pt x="79525" y="91283"/>
                        <a:pt x="79525" y="135962"/>
                      </a:cubicBezTo>
                      <a:cubicBezTo>
                        <a:pt x="79525" y="135962"/>
                        <a:pt x="11116" y="95130"/>
                        <a:pt x="3421" y="84656"/>
                      </a:cubicBezTo>
                      <a:cubicBezTo>
                        <a:pt x="-4276" y="74181"/>
                        <a:pt x="3421" y="0"/>
                        <a:pt x="3421" y="0"/>
                      </a:cubicBezTo>
                      <a:cubicBezTo>
                        <a:pt x="3421" y="0"/>
                        <a:pt x="78456" y="8551"/>
                        <a:pt x="92779" y="33349"/>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5" name="Graphic 2">
                  <a:extLst>
                    <a:ext uri="{FF2B5EF4-FFF2-40B4-BE49-F238E27FC236}">
                      <a16:creationId xmlns:a16="http://schemas.microsoft.com/office/drawing/2014/main" id="{54ECA9C7-79E3-404F-92B9-275517411505}"/>
                    </a:ext>
                  </a:extLst>
                </p:cNvPr>
                <p:cNvSpPr/>
                <p:nvPr/>
              </p:nvSpPr>
              <p:spPr>
                <a:xfrm>
                  <a:off x="5750758" y="5616465"/>
                  <a:ext cx="5936" cy="7105"/>
                </a:xfrm>
                <a:custGeom>
                  <a:avLst/>
                  <a:gdLst>
                    <a:gd name="connsiteX0" fmla="*/ 11972 w 57506"/>
                    <a:gd name="connsiteY0" fmla="*/ 0 h 68835"/>
                    <a:gd name="connsiteX1" fmla="*/ 0 w 57506"/>
                    <a:gd name="connsiteY1" fmla="*/ 38052 h 68835"/>
                    <a:gd name="connsiteX2" fmla="*/ 11972 w 57506"/>
                    <a:gd name="connsiteY2" fmla="*/ 68836 h 68835"/>
                    <a:gd name="connsiteX3" fmla="*/ 57506 w 57506"/>
                    <a:gd name="connsiteY3" fmla="*/ 37411 h 68835"/>
                    <a:gd name="connsiteX4" fmla="*/ 39549 w 57506"/>
                    <a:gd name="connsiteY4" fmla="*/ 5986 h 68835"/>
                    <a:gd name="connsiteX5" fmla="*/ 11972 w 57506"/>
                    <a:gd name="connsiteY5" fmla="*/ 0 h 6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68835">
                      <a:moveTo>
                        <a:pt x="11972" y="0"/>
                      </a:moveTo>
                      <a:cubicBezTo>
                        <a:pt x="11972" y="0"/>
                        <a:pt x="0" y="24157"/>
                        <a:pt x="0" y="38052"/>
                      </a:cubicBezTo>
                      <a:cubicBezTo>
                        <a:pt x="0" y="51734"/>
                        <a:pt x="11972" y="68836"/>
                        <a:pt x="11972" y="68836"/>
                      </a:cubicBezTo>
                      <a:lnTo>
                        <a:pt x="57506" y="37411"/>
                      </a:lnTo>
                      <a:cubicBezTo>
                        <a:pt x="57506" y="37411"/>
                        <a:pt x="54086" y="10903"/>
                        <a:pt x="39549" y="5986"/>
                      </a:cubicBezTo>
                      <a:cubicBezTo>
                        <a:pt x="24798" y="1283"/>
                        <a:pt x="11972" y="0"/>
                        <a:pt x="11972" y="0"/>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6" name="Graphic 2">
                  <a:extLst>
                    <a:ext uri="{FF2B5EF4-FFF2-40B4-BE49-F238E27FC236}">
                      <a16:creationId xmlns:a16="http://schemas.microsoft.com/office/drawing/2014/main" id="{1AC0E6A0-844A-453E-AD8C-071C39A907EC}"/>
                    </a:ext>
                  </a:extLst>
                </p:cNvPr>
                <p:cNvSpPr/>
                <p:nvPr/>
              </p:nvSpPr>
              <p:spPr>
                <a:xfrm>
                  <a:off x="5696433" y="5620023"/>
                  <a:ext cx="30208" cy="30270"/>
                </a:xfrm>
                <a:custGeom>
                  <a:avLst/>
                  <a:gdLst>
                    <a:gd name="connsiteX0" fmla="*/ 292660 w 292659"/>
                    <a:gd name="connsiteY0" fmla="*/ 235536 h 293255"/>
                    <a:gd name="connsiteX1" fmla="*/ 266579 w 292659"/>
                    <a:gd name="connsiteY1" fmla="*/ 292400 h 293255"/>
                    <a:gd name="connsiteX2" fmla="*/ 220617 w 292659"/>
                    <a:gd name="connsiteY2" fmla="*/ 293255 h 293255"/>
                    <a:gd name="connsiteX3" fmla="*/ 165891 w 292659"/>
                    <a:gd name="connsiteY3" fmla="*/ 289407 h 293255"/>
                    <a:gd name="connsiteX4" fmla="*/ 74180 w 292659"/>
                    <a:gd name="connsiteY4" fmla="*/ 244300 h 293255"/>
                    <a:gd name="connsiteX5" fmla="*/ 0 w 292659"/>
                    <a:gd name="connsiteY5" fmla="*/ 210737 h 293255"/>
                    <a:gd name="connsiteX6" fmla="*/ 13681 w 292659"/>
                    <a:gd name="connsiteY6" fmla="*/ 63018 h 293255"/>
                    <a:gd name="connsiteX7" fmla="*/ 16247 w 292659"/>
                    <a:gd name="connsiteY7" fmla="*/ 36296 h 293255"/>
                    <a:gd name="connsiteX8" fmla="*/ 19240 w 292659"/>
                    <a:gd name="connsiteY8" fmla="*/ 4657 h 293255"/>
                    <a:gd name="connsiteX9" fmla="*/ 19240 w 292659"/>
                    <a:gd name="connsiteY9" fmla="*/ 4657 h 293255"/>
                    <a:gd name="connsiteX10" fmla="*/ 91282 w 292659"/>
                    <a:gd name="connsiteY10" fmla="*/ 4657 h 293255"/>
                    <a:gd name="connsiteX11" fmla="*/ 276840 w 292659"/>
                    <a:gd name="connsiteY11" fmla="*/ 49764 h 293255"/>
                    <a:gd name="connsiteX12" fmla="*/ 284964 w 292659"/>
                    <a:gd name="connsiteY12" fmla="*/ 92733 h 293255"/>
                    <a:gd name="connsiteX13" fmla="*/ 284964 w 292659"/>
                    <a:gd name="connsiteY13" fmla="*/ 93374 h 293255"/>
                    <a:gd name="connsiteX14" fmla="*/ 287315 w 292659"/>
                    <a:gd name="connsiteY14" fmla="*/ 120951 h 293255"/>
                    <a:gd name="connsiteX15" fmla="*/ 287315 w 292659"/>
                    <a:gd name="connsiteY15" fmla="*/ 122448 h 293255"/>
                    <a:gd name="connsiteX16" fmla="*/ 292660 w 292659"/>
                    <a:gd name="connsiteY16" fmla="*/ 235536 h 29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59" h="293255">
                      <a:moveTo>
                        <a:pt x="292660" y="235536"/>
                      </a:moveTo>
                      <a:lnTo>
                        <a:pt x="266579" y="292400"/>
                      </a:lnTo>
                      <a:cubicBezTo>
                        <a:pt x="266579" y="292400"/>
                        <a:pt x="244560" y="293255"/>
                        <a:pt x="220617" y="293255"/>
                      </a:cubicBezTo>
                      <a:cubicBezTo>
                        <a:pt x="199239" y="293255"/>
                        <a:pt x="176365" y="292400"/>
                        <a:pt x="165891" y="289407"/>
                      </a:cubicBezTo>
                      <a:cubicBezTo>
                        <a:pt x="144085" y="283208"/>
                        <a:pt x="74180" y="244300"/>
                        <a:pt x="74180" y="244300"/>
                      </a:cubicBezTo>
                      <a:lnTo>
                        <a:pt x="0" y="210737"/>
                      </a:lnTo>
                      <a:lnTo>
                        <a:pt x="13681" y="63018"/>
                      </a:lnTo>
                      <a:lnTo>
                        <a:pt x="16247" y="36296"/>
                      </a:lnTo>
                      <a:lnTo>
                        <a:pt x="19240" y="4657"/>
                      </a:lnTo>
                      <a:lnTo>
                        <a:pt x="19240" y="4657"/>
                      </a:lnTo>
                      <a:cubicBezTo>
                        <a:pt x="20950" y="4230"/>
                        <a:pt x="62423" y="-5604"/>
                        <a:pt x="91282" y="4657"/>
                      </a:cubicBezTo>
                      <a:cubicBezTo>
                        <a:pt x="91282" y="4657"/>
                        <a:pt x="265724" y="39716"/>
                        <a:pt x="276840" y="49764"/>
                      </a:cubicBezTo>
                      <a:cubicBezTo>
                        <a:pt x="280047" y="52757"/>
                        <a:pt x="282826" y="69859"/>
                        <a:pt x="284964" y="92733"/>
                      </a:cubicBezTo>
                      <a:lnTo>
                        <a:pt x="284964" y="93374"/>
                      </a:lnTo>
                      <a:cubicBezTo>
                        <a:pt x="285819" y="101925"/>
                        <a:pt x="286460" y="111331"/>
                        <a:pt x="287315" y="120951"/>
                      </a:cubicBezTo>
                      <a:lnTo>
                        <a:pt x="287315" y="122448"/>
                      </a:lnTo>
                      <a:cubicBezTo>
                        <a:pt x="290950" y="174823"/>
                        <a:pt x="292660" y="235536"/>
                        <a:pt x="292660" y="235536"/>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7" name="Graphic 2">
                  <a:extLst>
                    <a:ext uri="{FF2B5EF4-FFF2-40B4-BE49-F238E27FC236}">
                      <a16:creationId xmlns:a16="http://schemas.microsoft.com/office/drawing/2014/main" id="{C465A184-B531-4FF8-A4B8-8E9519BC2007}"/>
                    </a:ext>
                  </a:extLst>
                </p:cNvPr>
                <p:cNvSpPr/>
                <p:nvPr/>
              </p:nvSpPr>
              <p:spPr>
                <a:xfrm>
                  <a:off x="5705855" y="5610529"/>
                  <a:ext cx="18094" cy="14188"/>
                </a:xfrm>
                <a:custGeom>
                  <a:avLst/>
                  <a:gdLst>
                    <a:gd name="connsiteX0" fmla="*/ 175297 w 175296"/>
                    <a:gd name="connsiteY0" fmla="*/ 51092 h 137457"/>
                    <a:gd name="connsiteX1" fmla="*/ 175297 w 175296"/>
                    <a:gd name="connsiteY1" fmla="*/ 137458 h 137457"/>
                    <a:gd name="connsiteX2" fmla="*/ 0 w 175296"/>
                    <a:gd name="connsiteY2" fmla="*/ 96840 h 137457"/>
                    <a:gd name="connsiteX3" fmla="*/ 0 w 175296"/>
                    <a:gd name="connsiteY3" fmla="*/ 0 h 137457"/>
                  </a:gdLst>
                  <a:ahLst/>
                  <a:cxnLst>
                    <a:cxn ang="0">
                      <a:pos x="connsiteX0" y="connsiteY0"/>
                    </a:cxn>
                    <a:cxn ang="0">
                      <a:pos x="connsiteX1" y="connsiteY1"/>
                    </a:cxn>
                    <a:cxn ang="0">
                      <a:pos x="connsiteX2" y="connsiteY2"/>
                    </a:cxn>
                    <a:cxn ang="0">
                      <a:pos x="connsiteX3" y="connsiteY3"/>
                    </a:cxn>
                  </a:cxnLst>
                  <a:rect l="l" t="t" r="r" b="b"/>
                  <a:pathLst>
                    <a:path w="175296" h="137457">
                      <a:moveTo>
                        <a:pt x="175297" y="51092"/>
                      </a:moveTo>
                      <a:lnTo>
                        <a:pt x="175297" y="137458"/>
                      </a:lnTo>
                      <a:lnTo>
                        <a:pt x="0" y="96840"/>
                      </a:lnTo>
                      <a:lnTo>
                        <a:pt x="0"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8" name="Graphic 2">
                  <a:extLst>
                    <a:ext uri="{FF2B5EF4-FFF2-40B4-BE49-F238E27FC236}">
                      <a16:creationId xmlns:a16="http://schemas.microsoft.com/office/drawing/2014/main" id="{41D4E6D5-98E9-406F-BA14-37358DB891FD}"/>
                    </a:ext>
                  </a:extLst>
                </p:cNvPr>
                <p:cNvSpPr/>
                <p:nvPr/>
              </p:nvSpPr>
              <p:spPr>
                <a:xfrm>
                  <a:off x="5727568" y="5613508"/>
                  <a:ext cx="18689" cy="7789"/>
                </a:xfrm>
                <a:custGeom>
                  <a:avLst/>
                  <a:gdLst>
                    <a:gd name="connsiteX0" fmla="*/ 181068 w 181068"/>
                    <a:gd name="connsiteY0" fmla="*/ 0 h 75462"/>
                    <a:gd name="connsiteX1" fmla="*/ 3634 w 181068"/>
                    <a:gd name="connsiteY1" fmla="*/ 22233 h 75462"/>
                    <a:gd name="connsiteX2" fmla="*/ 0 w 181068"/>
                    <a:gd name="connsiteY2" fmla="*/ 75463 h 75462"/>
                    <a:gd name="connsiteX3" fmla="*/ 18598 w 181068"/>
                    <a:gd name="connsiteY3" fmla="*/ 62423 h 75462"/>
                    <a:gd name="connsiteX4" fmla="*/ 181068 w 181068"/>
                    <a:gd name="connsiteY4" fmla="*/ 67980 h 75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68" h="75462">
                      <a:moveTo>
                        <a:pt x="181068" y="0"/>
                      </a:moveTo>
                      <a:lnTo>
                        <a:pt x="3634" y="22233"/>
                      </a:lnTo>
                      <a:lnTo>
                        <a:pt x="0" y="75463"/>
                      </a:lnTo>
                      <a:lnTo>
                        <a:pt x="18598" y="62423"/>
                      </a:lnTo>
                      <a:lnTo>
                        <a:pt x="181068" y="6798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79" name="Graphic 2">
                  <a:extLst>
                    <a:ext uri="{FF2B5EF4-FFF2-40B4-BE49-F238E27FC236}">
                      <a16:creationId xmlns:a16="http://schemas.microsoft.com/office/drawing/2014/main" id="{5606AFF0-51FB-40C7-B67A-7A85CAFCAED3}"/>
                    </a:ext>
                  </a:extLst>
                </p:cNvPr>
                <p:cNvSpPr/>
                <p:nvPr/>
              </p:nvSpPr>
              <p:spPr>
                <a:xfrm>
                  <a:off x="5723949" y="5609051"/>
                  <a:ext cx="3994" cy="16549"/>
                </a:xfrm>
                <a:custGeom>
                  <a:avLst/>
                  <a:gdLst>
                    <a:gd name="connsiteX0" fmla="*/ 0 w 38693"/>
                    <a:gd name="connsiteY0" fmla="*/ 0 h 160332"/>
                    <a:gd name="connsiteX1" fmla="*/ 38694 w 38693"/>
                    <a:gd name="connsiteY1" fmla="*/ 0 h 160332"/>
                    <a:gd name="connsiteX2" fmla="*/ 35060 w 38693"/>
                    <a:gd name="connsiteY2" fmla="*/ 90000 h 160332"/>
                    <a:gd name="connsiteX3" fmla="*/ 12399 w 38693"/>
                    <a:gd name="connsiteY3" fmla="*/ 160332 h 160332"/>
                    <a:gd name="connsiteX4" fmla="*/ 0 w 38693"/>
                    <a:gd name="connsiteY4" fmla="*/ 146009 h 160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3" h="160332">
                      <a:moveTo>
                        <a:pt x="0" y="0"/>
                      </a:moveTo>
                      <a:lnTo>
                        <a:pt x="38694" y="0"/>
                      </a:lnTo>
                      <a:lnTo>
                        <a:pt x="35060" y="90000"/>
                      </a:lnTo>
                      <a:lnTo>
                        <a:pt x="12399" y="160332"/>
                      </a:lnTo>
                      <a:lnTo>
                        <a:pt x="0" y="146009"/>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0" name="Graphic 2">
                  <a:extLst>
                    <a:ext uri="{FF2B5EF4-FFF2-40B4-BE49-F238E27FC236}">
                      <a16:creationId xmlns:a16="http://schemas.microsoft.com/office/drawing/2014/main" id="{9148E395-F91D-4E41-8AF5-783C07146A6C}"/>
                    </a:ext>
                  </a:extLst>
                </p:cNvPr>
                <p:cNvSpPr/>
                <p:nvPr/>
              </p:nvSpPr>
              <p:spPr>
                <a:xfrm>
                  <a:off x="5709187" y="5603314"/>
                  <a:ext cx="15821" cy="6752"/>
                </a:xfrm>
                <a:custGeom>
                  <a:avLst/>
                  <a:gdLst>
                    <a:gd name="connsiteX0" fmla="*/ 153278 w 153277"/>
                    <a:gd name="connsiteY0" fmla="*/ 44252 h 65415"/>
                    <a:gd name="connsiteX1" fmla="*/ 153278 w 153277"/>
                    <a:gd name="connsiteY1" fmla="*/ 65416 h 65415"/>
                    <a:gd name="connsiteX2" fmla="*/ 0 w 153277"/>
                    <a:gd name="connsiteY2" fmla="*/ 18599 h 65415"/>
                    <a:gd name="connsiteX3" fmla="*/ 4703 w 153277"/>
                    <a:gd name="connsiteY3" fmla="*/ 0 h 65415"/>
                  </a:gdLst>
                  <a:ahLst/>
                  <a:cxnLst>
                    <a:cxn ang="0">
                      <a:pos x="connsiteX0" y="connsiteY0"/>
                    </a:cxn>
                    <a:cxn ang="0">
                      <a:pos x="connsiteX1" y="connsiteY1"/>
                    </a:cxn>
                    <a:cxn ang="0">
                      <a:pos x="connsiteX2" y="connsiteY2"/>
                    </a:cxn>
                    <a:cxn ang="0">
                      <a:pos x="connsiteX3" y="connsiteY3"/>
                    </a:cxn>
                  </a:cxnLst>
                  <a:rect l="l" t="t" r="r" b="b"/>
                  <a:pathLst>
                    <a:path w="153277" h="65415">
                      <a:moveTo>
                        <a:pt x="153278" y="44252"/>
                      </a:moveTo>
                      <a:lnTo>
                        <a:pt x="153278" y="65416"/>
                      </a:lnTo>
                      <a:lnTo>
                        <a:pt x="0" y="18599"/>
                      </a:lnTo>
                      <a:lnTo>
                        <a:pt x="4703"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1" name="Graphic 2">
                  <a:extLst>
                    <a:ext uri="{FF2B5EF4-FFF2-40B4-BE49-F238E27FC236}">
                      <a16:creationId xmlns:a16="http://schemas.microsoft.com/office/drawing/2014/main" id="{F6CDE692-77DA-4F75-9270-E0893B38CD23}"/>
                    </a:ext>
                  </a:extLst>
                </p:cNvPr>
                <p:cNvSpPr/>
                <p:nvPr/>
              </p:nvSpPr>
              <p:spPr>
                <a:xfrm>
                  <a:off x="5725008" y="5607528"/>
                  <a:ext cx="18491" cy="2538"/>
                </a:xfrm>
                <a:custGeom>
                  <a:avLst/>
                  <a:gdLst>
                    <a:gd name="connsiteX0" fmla="*/ 179145 w 179144"/>
                    <a:gd name="connsiteY0" fmla="*/ 17744 h 24584"/>
                    <a:gd name="connsiteX1" fmla="*/ 0 w 179144"/>
                    <a:gd name="connsiteY1" fmla="*/ 24584 h 24584"/>
                    <a:gd name="connsiteX2" fmla="*/ 0 w 179144"/>
                    <a:gd name="connsiteY2" fmla="*/ 3421 h 24584"/>
                    <a:gd name="connsiteX3" fmla="*/ 175297 w 179144"/>
                    <a:gd name="connsiteY3" fmla="*/ 0 h 24584"/>
                  </a:gdLst>
                  <a:ahLst/>
                  <a:cxnLst>
                    <a:cxn ang="0">
                      <a:pos x="connsiteX0" y="connsiteY0"/>
                    </a:cxn>
                    <a:cxn ang="0">
                      <a:pos x="connsiteX1" y="connsiteY1"/>
                    </a:cxn>
                    <a:cxn ang="0">
                      <a:pos x="connsiteX2" y="connsiteY2"/>
                    </a:cxn>
                    <a:cxn ang="0">
                      <a:pos x="connsiteX3" y="connsiteY3"/>
                    </a:cxn>
                  </a:cxnLst>
                  <a:rect l="l" t="t" r="r" b="b"/>
                  <a:pathLst>
                    <a:path w="179144" h="24584">
                      <a:moveTo>
                        <a:pt x="179145" y="17744"/>
                      </a:moveTo>
                      <a:lnTo>
                        <a:pt x="0" y="24584"/>
                      </a:lnTo>
                      <a:lnTo>
                        <a:pt x="0" y="3421"/>
                      </a:lnTo>
                      <a:lnTo>
                        <a:pt x="17529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2" name="Graphic 2">
                  <a:extLst>
                    <a:ext uri="{FF2B5EF4-FFF2-40B4-BE49-F238E27FC236}">
                      <a16:creationId xmlns:a16="http://schemas.microsoft.com/office/drawing/2014/main" id="{4209234E-C289-4FC3-979A-91FA71FB55CF}"/>
                    </a:ext>
                  </a:extLst>
                </p:cNvPr>
                <p:cNvSpPr/>
                <p:nvPr/>
              </p:nvSpPr>
              <p:spPr>
                <a:xfrm>
                  <a:off x="5698419" y="5620067"/>
                  <a:ext cx="28222" cy="30226"/>
                </a:xfrm>
                <a:custGeom>
                  <a:avLst/>
                  <a:gdLst>
                    <a:gd name="connsiteX0" fmla="*/ 273420 w 273419"/>
                    <a:gd name="connsiteY0" fmla="*/ 235108 h 292827"/>
                    <a:gd name="connsiteX1" fmla="*/ 247339 w 273419"/>
                    <a:gd name="connsiteY1" fmla="*/ 291972 h 292827"/>
                    <a:gd name="connsiteX2" fmla="*/ 201377 w 273419"/>
                    <a:gd name="connsiteY2" fmla="*/ 292828 h 292827"/>
                    <a:gd name="connsiteX3" fmla="*/ 187482 w 273419"/>
                    <a:gd name="connsiteY3" fmla="*/ 65583 h 292827"/>
                    <a:gd name="connsiteX4" fmla="*/ 0 w 273419"/>
                    <a:gd name="connsiteY4" fmla="*/ 4657 h 292827"/>
                    <a:gd name="connsiteX5" fmla="*/ 0 w 273419"/>
                    <a:gd name="connsiteY5" fmla="*/ 4657 h 292827"/>
                    <a:gd name="connsiteX6" fmla="*/ 72043 w 273419"/>
                    <a:gd name="connsiteY6" fmla="*/ 4657 h 292827"/>
                    <a:gd name="connsiteX7" fmla="*/ 257600 w 273419"/>
                    <a:gd name="connsiteY7" fmla="*/ 49764 h 292827"/>
                    <a:gd name="connsiteX8" fmla="*/ 273420 w 273419"/>
                    <a:gd name="connsiteY8" fmla="*/ 235108 h 29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419" h="292827">
                      <a:moveTo>
                        <a:pt x="273420" y="235108"/>
                      </a:moveTo>
                      <a:lnTo>
                        <a:pt x="247339" y="291972"/>
                      </a:lnTo>
                      <a:cubicBezTo>
                        <a:pt x="247339" y="291972"/>
                        <a:pt x="225320" y="292828"/>
                        <a:pt x="201377" y="292828"/>
                      </a:cubicBezTo>
                      <a:cubicBezTo>
                        <a:pt x="201377" y="292828"/>
                        <a:pt x="188765" y="75417"/>
                        <a:pt x="187482" y="65583"/>
                      </a:cubicBezTo>
                      <a:cubicBezTo>
                        <a:pt x="186199" y="55749"/>
                        <a:pt x="0" y="4657"/>
                        <a:pt x="0" y="4657"/>
                      </a:cubicBezTo>
                      <a:lnTo>
                        <a:pt x="0" y="4657"/>
                      </a:lnTo>
                      <a:cubicBezTo>
                        <a:pt x="1710" y="4230"/>
                        <a:pt x="43183" y="-5604"/>
                        <a:pt x="72043" y="4657"/>
                      </a:cubicBezTo>
                      <a:cubicBezTo>
                        <a:pt x="72043" y="4657"/>
                        <a:pt x="246484" y="39716"/>
                        <a:pt x="257600" y="49764"/>
                      </a:cubicBezTo>
                      <a:cubicBezTo>
                        <a:pt x="268717" y="59597"/>
                        <a:pt x="273420" y="235108"/>
                        <a:pt x="273420" y="23510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3" name="Graphic 2">
                  <a:extLst>
                    <a:ext uri="{FF2B5EF4-FFF2-40B4-BE49-F238E27FC236}">
                      <a16:creationId xmlns:a16="http://schemas.microsoft.com/office/drawing/2014/main" id="{FBF85DD2-A519-4F8C-B70D-727AF425311F}"/>
                    </a:ext>
                  </a:extLst>
                </p:cNvPr>
                <p:cNvSpPr/>
                <p:nvPr/>
              </p:nvSpPr>
              <p:spPr>
                <a:xfrm>
                  <a:off x="5723927" y="5644335"/>
                  <a:ext cx="16439" cy="22287"/>
                </a:xfrm>
                <a:custGeom>
                  <a:avLst/>
                  <a:gdLst>
                    <a:gd name="connsiteX0" fmla="*/ 159263 w 159263"/>
                    <a:gd name="connsiteY0" fmla="*/ 215914 h 215914"/>
                    <a:gd name="connsiteX1" fmla="*/ 159263 w 159263"/>
                    <a:gd name="connsiteY1" fmla="*/ 215914 h 215914"/>
                    <a:gd name="connsiteX2" fmla="*/ 121853 w 159263"/>
                    <a:gd name="connsiteY2" fmla="*/ 195819 h 215914"/>
                    <a:gd name="connsiteX3" fmla="*/ 113302 w 159263"/>
                    <a:gd name="connsiteY3" fmla="*/ 183206 h 215914"/>
                    <a:gd name="connsiteX4" fmla="*/ 70118 w 159263"/>
                    <a:gd name="connsiteY4" fmla="*/ 157767 h 215914"/>
                    <a:gd name="connsiteX5" fmla="*/ 47672 w 159263"/>
                    <a:gd name="connsiteY5" fmla="*/ 155843 h 215914"/>
                    <a:gd name="connsiteX6" fmla="*/ 855 w 159263"/>
                    <a:gd name="connsiteY6" fmla="*/ 84228 h 215914"/>
                    <a:gd name="connsiteX7" fmla="*/ 855 w 159263"/>
                    <a:gd name="connsiteY7" fmla="*/ 23515 h 215914"/>
                    <a:gd name="connsiteX8" fmla="*/ 26294 w 159263"/>
                    <a:gd name="connsiteY8" fmla="*/ 0 h 215914"/>
                    <a:gd name="connsiteX9" fmla="*/ 132541 w 159263"/>
                    <a:gd name="connsiteY9" fmla="*/ 79952 h 215914"/>
                    <a:gd name="connsiteX10" fmla="*/ 142161 w 159263"/>
                    <a:gd name="connsiteY10" fmla="*/ 94489 h 215914"/>
                    <a:gd name="connsiteX11" fmla="*/ 159263 w 159263"/>
                    <a:gd name="connsiteY11" fmla="*/ 215914 h 21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263" h="215914">
                      <a:moveTo>
                        <a:pt x="159263" y="215914"/>
                      </a:moveTo>
                      <a:lnTo>
                        <a:pt x="159263" y="215914"/>
                      </a:lnTo>
                      <a:cubicBezTo>
                        <a:pt x="144299" y="215914"/>
                        <a:pt x="130190" y="208432"/>
                        <a:pt x="121853" y="195819"/>
                      </a:cubicBezTo>
                      <a:lnTo>
                        <a:pt x="113302" y="183206"/>
                      </a:lnTo>
                      <a:cubicBezTo>
                        <a:pt x="103468" y="168669"/>
                        <a:pt x="87648" y="159263"/>
                        <a:pt x="70118" y="157767"/>
                      </a:cubicBezTo>
                      <a:lnTo>
                        <a:pt x="47672" y="155843"/>
                      </a:lnTo>
                      <a:lnTo>
                        <a:pt x="855" y="84228"/>
                      </a:lnTo>
                      <a:cubicBezTo>
                        <a:pt x="855" y="84228"/>
                        <a:pt x="-1069" y="34846"/>
                        <a:pt x="855" y="23515"/>
                      </a:cubicBezTo>
                      <a:cubicBezTo>
                        <a:pt x="2779" y="12185"/>
                        <a:pt x="26294" y="0"/>
                        <a:pt x="26294" y="0"/>
                      </a:cubicBezTo>
                      <a:cubicBezTo>
                        <a:pt x="34632" y="21164"/>
                        <a:pt x="107529" y="65415"/>
                        <a:pt x="132541" y="79952"/>
                      </a:cubicBezTo>
                      <a:cubicBezTo>
                        <a:pt x="137886" y="82945"/>
                        <a:pt x="141306" y="88290"/>
                        <a:pt x="142161" y="94489"/>
                      </a:cubicBezTo>
                      <a:lnTo>
                        <a:pt x="159263" y="21591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4" name="Graphic 2">
                  <a:extLst>
                    <a:ext uri="{FF2B5EF4-FFF2-40B4-BE49-F238E27FC236}">
                      <a16:creationId xmlns:a16="http://schemas.microsoft.com/office/drawing/2014/main" id="{8355D650-E2AB-4DB8-A4E6-E18EA8620018}"/>
                    </a:ext>
                  </a:extLst>
                </p:cNvPr>
                <p:cNvSpPr/>
                <p:nvPr/>
              </p:nvSpPr>
              <p:spPr>
                <a:xfrm>
                  <a:off x="5795066" y="5630345"/>
                  <a:ext cx="6046" cy="13924"/>
                </a:xfrm>
                <a:custGeom>
                  <a:avLst/>
                  <a:gdLst>
                    <a:gd name="connsiteX0" fmla="*/ 58575 w 58574"/>
                    <a:gd name="connsiteY0" fmla="*/ 134893 h 134893"/>
                    <a:gd name="connsiteX1" fmla="*/ 16033 w 58574"/>
                    <a:gd name="connsiteY1" fmla="*/ 134893 h 134893"/>
                    <a:gd name="connsiteX2" fmla="*/ 7482 w 58574"/>
                    <a:gd name="connsiteY2" fmla="*/ 62637 h 134893"/>
                    <a:gd name="connsiteX3" fmla="*/ 0 w 58574"/>
                    <a:gd name="connsiteY3" fmla="*/ 0 h 134893"/>
                    <a:gd name="connsiteX4" fmla="*/ 39335 w 58574"/>
                    <a:gd name="connsiteY4" fmla="*/ 2138 h 134893"/>
                    <a:gd name="connsiteX5" fmla="*/ 43397 w 58574"/>
                    <a:gd name="connsiteY5" fmla="*/ 30357 h 134893"/>
                    <a:gd name="connsiteX6" fmla="*/ 45534 w 58574"/>
                    <a:gd name="connsiteY6" fmla="*/ 45321 h 134893"/>
                    <a:gd name="connsiteX7" fmla="*/ 56437 w 58574"/>
                    <a:gd name="connsiteY7" fmla="*/ 119715 h 134893"/>
                    <a:gd name="connsiteX8" fmla="*/ 58575 w 58574"/>
                    <a:gd name="connsiteY8" fmla="*/ 134893 h 13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574" h="134893">
                      <a:moveTo>
                        <a:pt x="58575" y="134893"/>
                      </a:moveTo>
                      <a:lnTo>
                        <a:pt x="16033" y="134893"/>
                      </a:lnTo>
                      <a:lnTo>
                        <a:pt x="7482" y="62637"/>
                      </a:lnTo>
                      <a:lnTo>
                        <a:pt x="0" y="0"/>
                      </a:lnTo>
                      <a:cubicBezTo>
                        <a:pt x="14537" y="1924"/>
                        <a:pt x="28005" y="2993"/>
                        <a:pt x="39335" y="2138"/>
                      </a:cubicBezTo>
                      <a:lnTo>
                        <a:pt x="43397" y="30357"/>
                      </a:lnTo>
                      <a:lnTo>
                        <a:pt x="45534" y="45321"/>
                      </a:lnTo>
                      <a:lnTo>
                        <a:pt x="56437" y="119715"/>
                      </a:lnTo>
                      <a:lnTo>
                        <a:pt x="58575" y="134893"/>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5" name="Graphic 2">
                  <a:extLst>
                    <a:ext uri="{FF2B5EF4-FFF2-40B4-BE49-F238E27FC236}">
                      <a16:creationId xmlns:a16="http://schemas.microsoft.com/office/drawing/2014/main" id="{33B05805-52D7-4A26-AA49-8EB9C64D98AA}"/>
                    </a:ext>
                  </a:extLst>
                </p:cNvPr>
                <p:cNvSpPr/>
                <p:nvPr/>
              </p:nvSpPr>
              <p:spPr>
                <a:xfrm>
                  <a:off x="5697845" y="5623791"/>
                  <a:ext cx="28244" cy="10636"/>
                </a:xfrm>
                <a:custGeom>
                  <a:avLst/>
                  <a:gdLst>
                    <a:gd name="connsiteX0" fmla="*/ 273634 w 273633"/>
                    <a:gd name="connsiteY0" fmla="*/ 86152 h 103040"/>
                    <a:gd name="connsiteX1" fmla="*/ 197743 w 273633"/>
                    <a:gd name="connsiteY1" fmla="*/ 103040 h 103040"/>
                    <a:gd name="connsiteX2" fmla="*/ 0 w 273633"/>
                    <a:gd name="connsiteY2" fmla="*/ 26722 h 103040"/>
                    <a:gd name="connsiteX3" fmla="*/ 2352 w 273633"/>
                    <a:gd name="connsiteY3" fmla="*/ 0 h 103040"/>
                    <a:gd name="connsiteX4" fmla="*/ 195605 w 273633"/>
                    <a:gd name="connsiteY4" fmla="*/ 69050 h 103040"/>
                    <a:gd name="connsiteX5" fmla="*/ 271282 w 273633"/>
                    <a:gd name="connsiteY5" fmla="*/ 56651 h 103040"/>
                    <a:gd name="connsiteX6" fmla="*/ 271282 w 273633"/>
                    <a:gd name="connsiteY6" fmla="*/ 57292 h 103040"/>
                    <a:gd name="connsiteX7" fmla="*/ 273634 w 273633"/>
                    <a:gd name="connsiteY7" fmla="*/ 84869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633" h="103040">
                      <a:moveTo>
                        <a:pt x="273634" y="86152"/>
                      </a:moveTo>
                      <a:lnTo>
                        <a:pt x="197743" y="103040"/>
                      </a:lnTo>
                      <a:lnTo>
                        <a:pt x="0" y="26722"/>
                      </a:lnTo>
                      <a:lnTo>
                        <a:pt x="2352" y="0"/>
                      </a:lnTo>
                      <a:lnTo>
                        <a:pt x="195605" y="69050"/>
                      </a:lnTo>
                      <a:lnTo>
                        <a:pt x="271282" y="56651"/>
                      </a:lnTo>
                      <a:lnTo>
                        <a:pt x="271282" y="57292"/>
                      </a:lnTo>
                      <a:lnTo>
                        <a:pt x="273634" y="84869"/>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6" name="Graphic 2">
                  <a:extLst>
                    <a:ext uri="{FF2B5EF4-FFF2-40B4-BE49-F238E27FC236}">
                      <a16:creationId xmlns:a16="http://schemas.microsoft.com/office/drawing/2014/main" id="{12C5B48B-978A-4AE8-A4BB-D037EF464752}"/>
                    </a:ext>
                  </a:extLst>
                </p:cNvPr>
                <p:cNvSpPr/>
                <p:nvPr/>
              </p:nvSpPr>
              <p:spPr>
                <a:xfrm>
                  <a:off x="5696786" y="5635530"/>
                  <a:ext cx="29855" cy="10746"/>
                </a:xfrm>
                <a:custGeom>
                  <a:avLst/>
                  <a:gdLst>
                    <a:gd name="connsiteX0" fmla="*/ 289239 w 289238"/>
                    <a:gd name="connsiteY0" fmla="*/ 83373 h 104109"/>
                    <a:gd name="connsiteX1" fmla="*/ 214845 w 289238"/>
                    <a:gd name="connsiteY1" fmla="*/ 104109 h 104109"/>
                    <a:gd name="connsiteX2" fmla="*/ 0 w 289238"/>
                    <a:gd name="connsiteY2" fmla="*/ 23088 h 104109"/>
                    <a:gd name="connsiteX3" fmla="*/ 2138 w 289238"/>
                    <a:gd name="connsiteY3" fmla="*/ 0 h 104109"/>
                    <a:gd name="connsiteX4" fmla="*/ 213135 w 289238"/>
                    <a:gd name="connsiteY4" fmla="*/ 76532 h 104109"/>
                    <a:gd name="connsiteX5" fmla="*/ 288384 w 289238"/>
                    <a:gd name="connsiteY5" fmla="*/ 59857 h 1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238" h="104109">
                      <a:moveTo>
                        <a:pt x="289239" y="83373"/>
                      </a:moveTo>
                      <a:lnTo>
                        <a:pt x="214845" y="104109"/>
                      </a:lnTo>
                      <a:lnTo>
                        <a:pt x="0" y="23088"/>
                      </a:lnTo>
                      <a:lnTo>
                        <a:pt x="2138" y="0"/>
                      </a:lnTo>
                      <a:lnTo>
                        <a:pt x="213135" y="76532"/>
                      </a:lnTo>
                      <a:lnTo>
                        <a:pt x="288384" y="59857"/>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7" name="Graphic 2">
                  <a:extLst>
                    <a:ext uri="{FF2B5EF4-FFF2-40B4-BE49-F238E27FC236}">
                      <a16:creationId xmlns:a16="http://schemas.microsoft.com/office/drawing/2014/main" id="{4CAE2317-BB36-40C6-B079-C901826A2B09}"/>
                    </a:ext>
                  </a:extLst>
                </p:cNvPr>
                <p:cNvSpPr/>
                <p:nvPr/>
              </p:nvSpPr>
              <p:spPr>
                <a:xfrm rot="17091035">
                  <a:off x="5767432" y="5655009"/>
                  <a:ext cx="31643" cy="22816"/>
                </a:xfrm>
                <a:custGeom>
                  <a:avLst/>
                  <a:gdLst>
                    <a:gd name="connsiteX0" fmla="*/ 306556 w 306556"/>
                    <a:gd name="connsiteY0" fmla="*/ 110523 h 221045"/>
                    <a:gd name="connsiteX1" fmla="*/ 153278 w 306556"/>
                    <a:gd name="connsiteY1" fmla="*/ 221045 h 221045"/>
                    <a:gd name="connsiteX2" fmla="*/ 0 w 306556"/>
                    <a:gd name="connsiteY2" fmla="*/ 110523 h 221045"/>
                    <a:gd name="connsiteX3" fmla="*/ 153278 w 306556"/>
                    <a:gd name="connsiteY3" fmla="*/ 0 h 221045"/>
                    <a:gd name="connsiteX4" fmla="*/ 306556 w 306556"/>
                    <a:gd name="connsiteY4" fmla="*/ 110523 h 22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56" h="221045">
                      <a:moveTo>
                        <a:pt x="306556" y="110523"/>
                      </a:moveTo>
                      <a:cubicBezTo>
                        <a:pt x="306556" y="171563"/>
                        <a:pt x="237931" y="221045"/>
                        <a:pt x="153278" y="221045"/>
                      </a:cubicBezTo>
                      <a:cubicBezTo>
                        <a:pt x="68625" y="221045"/>
                        <a:pt x="0" y="171562"/>
                        <a:pt x="0" y="110523"/>
                      </a:cubicBezTo>
                      <a:cubicBezTo>
                        <a:pt x="0" y="49482"/>
                        <a:pt x="68625" y="0"/>
                        <a:pt x="153278" y="0"/>
                      </a:cubicBezTo>
                      <a:cubicBezTo>
                        <a:pt x="237931" y="0"/>
                        <a:pt x="306556" y="49483"/>
                        <a:pt x="306556" y="110523"/>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8" name="Graphic 2">
                  <a:extLst>
                    <a:ext uri="{FF2B5EF4-FFF2-40B4-BE49-F238E27FC236}">
                      <a16:creationId xmlns:a16="http://schemas.microsoft.com/office/drawing/2014/main" id="{B8C2F76E-E9F8-4AA4-9503-90585411CDA9}"/>
                    </a:ext>
                  </a:extLst>
                </p:cNvPr>
                <p:cNvSpPr/>
                <p:nvPr/>
              </p:nvSpPr>
              <p:spPr>
                <a:xfrm rot="17655656">
                  <a:off x="5773499" y="5661204"/>
                  <a:ext cx="14431" cy="10415"/>
                </a:xfrm>
                <a:custGeom>
                  <a:avLst/>
                  <a:gdLst>
                    <a:gd name="connsiteX0" fmla="*/ 139812 w 139812"/>
                    <a:gd name="connsiteY0" fmla="*/ 50452 h 100904"/>
                    <a:gd name="connsiteX1" fmla="*/ 69906 w 139812"/>
                    <a:gd name="connsiteY1" fmla="*/ 100904 h 100904"/>
                    <a:gd name="connsiteX2" fmla="*/ 0 w 139812"/>
                    <a:gd name="connsiteY2" fmla="*/ 50452 h 100904"/>
                    <a:gd name="connsiteX3" fmla="*/ 69906 w 139812"/>
                    <a:gd name="connsiteY3" fmla="*/ 0 h 100904"/>
                    <a:gd name="connsiteX4" fmla="*/ 139812 w 139812"/>
                    <a:gd name="connsiteY4" fmla="*/ 50452 h 100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812" h="100904">
                      <a:moveTo>
                        <a:pt x="139812" y="50452"/>
                      </a:moveTo>
                      <a:cubicBezTo>
                        <a:pt x="139812" y="78316"/>
                        <a:pt x="108514" y="100904"/>
                        <a:pt x="69906" y="100904"/>
                      </a:cubicBezTo>
                      <a:cubicBezTo>
                        <a:pt x="31298" y="100904"/>
                        <a:pt x="0" y="78316"/>
                        <a:pt x="0" y="50452"/>
                      </a:cubicBezTo>
                      <a:cubicBezTo>
                        <a:pt x="0" y="22588"/>
                        <a:pt x="31298" y="0"/>
                        <a:pt x="69906" y="0"/>
                      </a:cubicBezTo>
                      <a:cubicBezTo>
                        <a:pt x="108514" y="0"/>
                        <a:pt x="139812" y="22588"/>
                        <a:pt x="139812" y="5045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89" name="Graphic 2">
                  <a:extLst>
                    <a:ext uri="{FF2B5EF4-FFF2-40B4-BE49-F238E27FC236}">
                      <a16:creationId xmlns:a16="http://schemas.microsoft.com/office/drawing/2014/main" id="{23DDB643-9A03-4090-8E31-301757785185}"/>
                    </a:ext>
                  </a:extLst>
                </p:cNvPr>
                <p:cNvSpPr/>
                <p:nvPr/>
              </p:nvSpPr>
              <p:spPr>
                <a:xfrm>
                  <a:off x="5718543" y="5593141"/>
                  <a:ext cx="10658" cy="9731"/>
                </a:xfrm>
                <a:custGeom>
                  <a:avLst/>
                  <a:gdLst>
                    <a:gd name="connsiteX0" fmla="*/ 103254 w 103254"/>
                    <a:gd name="connsiteY0" fmla="*/ 94275 h 94275"/>
                    <a:gd name="connsiteX1" fmla="*/ 0 w 103254"/>
                    <a:gd name="connsiteY1" fmla="*/ 94275 h 94275"/>
                    <a:gd name="connsiteX2" fmla="*/ 0 w 103254"/>
                    <a:gd name="connsiteY2" fmla="*/ 51520 h 94275"/>
                    <a:gd name="connsiteX3" fmla="*/ 51520 w 103254"/>
                    <a:gd name="connsiteY3" fmla="*/ 0 h 94275"/>
                    <a:gd name="connsiteX4" fmla="*/ 51520 w 103254"/>
                    <a:gd name="connsiteY4" fmla="*/ 0 h 94275"/>
                    <a:gd name="connsiteX5" fmla="*/ 103040 w 103254"/>
                    <a:gd name="connsiteY5" fmla="*/ 51520 h 94275"/>
                    <a:gd name="connsiteX6" fmla="*/ 103040 w 103254"/>
                    <a:gd name="connsiteY6" fmla="*/ 94275 h 9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54" h="94275">
                      <a:moveTo>
                        <a:pt x="103254" y="94275"/>
                      </a:moveTo>
                      <a:lnTo>
                        <a:pt x="0" y="94275"/>
                      </a:lnTo>
                      <a:lnTo>
                        <a:pt x="0" y="51520"/>
                      </a:lnTo>
                      <a:cubicBezTo>
                        <a:pt x="0" y="23088"/>
                        <a:pt x="23088" y="0"/>
                        <a:pt x="51520" y="0"/>
                      </a:cubicBezTo>
                      <a:lnTo>
                        <a:pt x="51520" y="0"/>
                      </a:lnTo>
                      <a:cubicBezTo>
                        <a:pt x="79953" y="0"/>
                        <a:pt x="103040" y="23088"/>
                        <a:pt x="103040" y="51520"/>
                      </a:cubicBezTo>
                      <a:lnTo>
                        <a:pt x="103040" y="94275"/>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0" name="Graphic 2">
                  <a:extLst>
                    <a:ext uri="{FF2B5EF4-FFF2-40B4-BE49-F238E27FC236}">
                      <a16:creationId xmlns:a16="http://schemas.microsoft.com/office/drawing/2014/main" id="{4A6B87EF-7B4F-43A6-84ED-ACA049F4202F}"/>
                    </a:ext>
                  </a:extLst>
                </p:cNvPr>
                <p:cNvSpPr/>
                <p:nvPr/>
              </p:nvSpPr>
              <p:spPr>
                <a:xfrm>
                  <a:off x="5710158" y="5601306"/>
                  <a:ext cx="32569" cy="4524"/>
                </a:xfrm>
                <a:custGeom>
                  <a:avLst/>
                  <a:gdLst>
                    <a:gd name="connsiteX0" fmla="*/ 0 w 315534"/>
                    <a:gd name="connsiteY0" fmla="*/ 0 h 43824"/>
                    <a:gd name="connsiteX1" fmla="*/ 143872 w 315534"/>
                    <a:gd name="connsiteY1" fmla="*/ 42541 h 43824"/>
                    <a:gd name="connsiteX2" fmla="*/ 315534 w 315534"/>
                    <a:gd name="connsiteY2" fmla="*/ 43824 h 43824"/>
                    <a:gd name="connsiteX3" fmla="*/ 140665 w 315534"/>
                    <a:gd name="connsiteY3" fmla="*/ 0 h 43824"/>
                  </a:gdLst>
                  <a:ahLst/>
                  <a:cxnLst>
                    <a:cxn ang="0">
                      <a:pos x="connsiteX0" y="connsiteY0"/>
                    </a:cxn>
                    <a:cxn ang="0">
                      <a:pos x="connsiteX1" y="connsiteY1"/>
                    </a:cxn>
                    <a:cxn ang="0">
                      <a:pos x="connsiteX2" y="connsiteY2"/>
                    </a:cxn>
                    <a:cxn ang="0">
                      <a:pos x="connsiteX3" y="connsiteY3"/>
                    </a:cxn>
                  </a:cxnLst>
                  <a:rect l="l" t="t" r="r" b="b"/>
                  <a:pathLst>
                    <a:path w="315534" h="43824">
                      <a:moveTo>
                        <a:pt x="0" y="0"/>
                      </a:moveTo>
                      <a:lnTo>
                        <a:pt x="143872" y="42541"/>
                      </a:lnTo>
                      <a:lnTo>
                        <a:pt x="315534" y="43824"/>
                      </a:lnTo>
                      <a:lnTo>
                        <a:pt x="140665"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1" name="Graphic 2">
                  <a:extLst>
                    <a:ext uri="{FF2B5EF4-FFF2-40B4-BE49-F238E27FC236}">
                      <a16:creationId xmlns:a16="http://schemas.microsoft.com/office/drawing/2014/main" id="{89C34B38-6CB0-4B40-82A4-740AF6CFC36F}"/>
                    </a:ext>
                  </a:extLst>
                </p:cNvPr>
                <p:cNvSpPr/>
                <p:nvPr/>
              </p:nvSpPr>
              <p:spPr>
                <a:xfrm>
                  <a:off x="5728207" y="5569244"/>
                  <a:ext cx="5583" cy="34070"/>
                </a:xfrm>
                <a:custGeom>
                  <a:avLst/>
                  <a:gdLst>
                    <a:gd name="connsiteX0" fmla="*/ 38052 w 54085"/>
                    <a:gd name="connsiteY0" fmla="*/ 0 h 330070"/>
                    <a:gd name="connsiteX1" fmla="*/ 0 w 54085"/>
                    <a:gd name="connsiteY1" fmla="*/ 319168 h 330070"/>
                    <a:gd name="connsiteX2" fmla="*/ 38052 w 54085"/>
                    <a:gd name="connsiteY2" fmla="*/ 330070 h 330070"/>
                    <a:gd name="connsiteX3" fmla="*/ 54086 w 54085"/>
                    <a:gd name="connsiteY3" fmla="*/ 0 h 330070"/>
                  </a:gdLst>
                  <a:ahLst/>
                  <a:cxnLst>
                    <a:cxn ang="0">
                      <a:pos x="connsiteX0" y="connsiteY0"/>
                    </a:cxn>
                    <a:cxn ang="0">
                      <a:pos x="connsiteX1" y="connsiteY1"/>
                    </a:cxn>
                    <a:cxn ang="0">
                      <a:pos x="connsiteX2" y="connsiteY2"/>
                    </a:cxn>
                    <a:cxn ang="0">
                      <a:pos x="connsiteX3" y="connsiteY3"/>
                    </a:cxn>
                  </a:cxnLst>
                  <a:rect l="l" t="t" r="r" b="b"/>
                  <a:pathLst>
                    <a:path w="54085" h="330070">
                      <a:moveTo>
                        <a:pt x="38052" y="0"/>
                      </a:moveTo>
                      <a:lnTo>
                        <a:pt x="0" y="319168"/>
                      </a:lnTo>
                      <a:lnTo>
                        <a:pt x="38052" y="330070"/>
                      </a:lnTo>
                      <a:lnTo>
                        <a:pt x="54086"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2" name="Graphic 2">
                  <a:extLst>
                    <a:ext uri="{FF2B5EF4-FFF2-40B4-BE49-F238E27FC236}">
                      <a16:creationId xmlns:a16="http://schemas.microsoft.com/office/drawing/2014/main" id="{FEEC34BC-2011-4D97-B5B7-3D36A3A9D08C}"/>
                    </a:ext>
                  </a:extLst>
                </p:cNvPr>
                <p:cNvSpPr/>
                <p:nvPr/>
              </p:nvSpPr>
              <p:spPr>
                <a:xfrm>
                  <a:off x="5772382" y="5630918"/>
                  <a:ext cx="8720" cy="38579"/>
                </a:xfrm>
                <a:custGeom>
                  <a:avLst/>
                  <a:gdLst>
                    <a:gd name="connsiteX0" fmla="*/ 33566 w 84485"/>
                    <a:gd name="connsiteY0" fmla="*/ 0 h 373754"/>
                    <a:gd name="connsiteX1" fmla="*/ 84231 w 84485"/>
                    <a:gd name="connsiteY1" fmla="*/ 346104 h 373754"/>
                    <a:gd name="connsiteX2" fmla="*/ 67129 w 84485"/>
                    <a:gd name="connsiteY2" fmla="*/ 373040 h 373754"/>
                    <a:gd name="connsiteX3" fmla="*/ 50454 w 84485"/>
                    <a:gd name="connsiteY3" fmla="*/ 370474 h 373754"/>
                    <a:gd name="connsiteX4" fmla="*/ 37628 w 84485"/>
                    <a:gd name="connsiteY4" fmla="*/ 349952 h 373754"/>
                    <a:gd name="connsiteX5" fmla="*/ 3 w 84485"/>
                    <a:gd name="connsiteY5" fmla="*/ 35059 h 373754"/>
                    <a:gd name="connsiteX6" fmla="*/ 33566 w 84485"/>
                    <a:gd name="connsiteY6" fmla="*/ 0 h 37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85" h="373754">
                      <a:moveTo>
                        <a:pt x="33566" y="0"/>
                      </a:moveTo>
                      <a:lnTo>
                        <a:pt x="84231" y="346104"/>
                      </a:lnTo>
                      <a:cubicBezTo>
                        <a:pt x="85941" y="358075"/>
                        <a:pt x="78887" y="370047"/>
                        <a:pt x="67129" y="373040"/>
                      </a:cubicBezTo>
                      <a:cubicBezTo>
                        <a:pt x="61998" y="374323"/>
                        <a:pt x="56440" y="374109"/>
                        <a:pt x="50454" y="370474"/>
                      </a:cubicBezTo>
                      <a:cubicBezTo>
                        <a:pt x="43186" y="366199"/>
                        <a:pt x="38697" y="358289"/>
                        <a:pt x="37628" y="349952"/>
                      </a:cubicBezTo>
                      <a:lnTo>
                        <a:pt x="3" y="35059"/>
                      </a:lnTo>
                      <a:cubicBezTo>
                        <a:pt x="-211" y="35273"/>
                        <a:pt x="11547" y="9834"/>
                        <a:pt x="33566" y="0"/>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3" name="Graphic 2">
                  <a:extLst>
                    <a:ext uri="{FF2B5EF4-FFF2-40B4-BE49-F238E27FC236}">
                      <a16:creationId xmlns:a16="http://schemas.microsoft.com/office/drawing/2014/main" id="{394626EF-FE94-4D42-91AF-31BE180CA71A}"/>
                    </a:ext>
                  </a:extLst>
                </p:cNvPr>
                <p:cNvSpPr/>
                <p:nvPr/>
              </p:nvSpPr>
              <p:spPr>
                <a:xfrm rot="17091035">
                  <a:off x="5661433" y="5651989"/>
                  <a:ext cx="50575" cy="36497"/>
                </a:xfrm>
                <a:custGeom>
                  <a:avLst/>
                  <a:gdLst>
                    <a:gd name="connsiteX0" fmla="*/ 489976 w 489976"/>
                    <a:gd name="connsiteY0" fmla="*/ 176793 h 353586"/>
                    <a:gd name="connsiteX1" fmla="*/ 244988 w 489976"/>
                    <a:gd name="connsiteY1" fmla="*/ 353587 h 353586"/>
                    <a:gd name="connsiteX2" fmla="*/ -1 w 489976"/>
                    <a:gd name="connsiteY2" fmla="*/ 176793 h 353586"/>
                    <a:gd name="connsiteX3" fmla="*/ 244988 w 489976"/>
                    <a:gd name="connsiteY3" fmla="*/ 0 h 353586"/>
                    <a:gd name="connsiteX4" fmla="*/ 489976 w 489976"/>
                    <a:gd name="connsiteY4" fmla="*/ 176793 h 35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976" h="353586">
                      <a:moveTo>
                        <a:pt x="489976" y="176793"/>
                      </a:moveTo>
                      <a:cubicBezTo>
                        <a:pt x="489976" y="274434"/>
                        <a:pt x="380292" y="353587"/>
                        <a:pt x="244988" y="353587"/>
                      </a:cubicBezTo>
                      <a:cubicBezTo>
                        <a:pt x="109685" y="353587"/>
                        <a:pt x="-1" y="274434"/>
                        <a:pt x="-1" y="176793"/>
                      </a:cubicBezTo>
                      <a:cubicBezTo>
                        <a:pt x="-1" y="79153"/>
                        <a:pt x="109684" y="0"/>
                        <a:pt x="244988" y="0"/>
                      </a:cubicBezTo>
                      <a:cubicBezTo>
                        <a:pt x="380291" y="0"/>
                        <a:pt x="489976" y="79153"/>
                        <a:pt x="489976" y="17679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4" name="Graphic 2">
                  <a:extLst>
                    <a:ext uri="{FF2B5EF4-FFF2-40B4-BE49-F238E27FC236}">
                      <a16:creationId xmlns:a16="http://schemas.microsoft.com/office/drawing/2014/main" id="{61EC34D5-6A01-4143-8C0E-B28B4B179D5B}"/>
                    </a:ext>
                  </a:extLst>
                </p:cNvPr>
                <p:cNvSpPr/>
                <p:nvPr/>
              </p:nvSpPr>
              <p:spPr>
                <a:xfrm rot="17091035">
                  <a:off x="5666082" y="5659183"/>
                  <a:ext cx="34818" cy="22174"/>
                </a:xfrm>
                <a:custGeom>
                  <a:avLst/>
                  <a:gdLst>
                    <a:gd name="connsiteX0" fmla="*/ 310831 w 310831"/>
                    <a:gd name="connsiteY0" fmla="*/ 98979 h 197957"/>
                    <a:gd name="connsiteX1" fmla="*/ 155416 w 310831"/>
                    <a:gd name="connsiteY1" fmla="*/ 197957 h 197957"/>
                    <a:gd name="connsiteX2" fmla="*/ 0 w 310831"/>
                    <a:gd name="connsiteY2" fmla="*/ 98979 h 197957"/>
                    <a:gd name="connsiteX3" fmla="*/ 155416 w 310831"/>
                    <a:gd name="connsiteY3" fmla="*/ 0 h 197957"/>
                    <a:gd name="connsiteX4" fmla="*/ 310831 w 310831"/>
                    <a:gd name="connsiteY4" fmla="*/ 98979 h 197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31" h="197957">
                      <a:moveTo>
                        <a:pt x="310831" y="98979"/>
                      </a:moveTo>
                      <a:cubicBezTo>
                        <a:pt x="310831" y="153643"/>
                        <a:pt x="241250" y="197957"/>
                        <a:pt x="155416" y="197957"/>
                      </a:cubicBezTo>
                      <a:cubicBezTo>
                        <a:pt x="69582" y="197957"/>
                        <a:pt x="0" y="153643"/>
                        <a:pt x="0" y="98979"/>
                      </a:cubicBezTo>
                      <a:cubicBezTo>
                        <a:pt x="0" y="44314"/>
                        <a:pt x="69582" y="0"/>
                        <a:pt x="155416" y="0"/>
                      </a:cubicBezTo>
                      <a:cubicBezTo>
                        <a:pt x="241250" y="0"/>
                        <a:pt x="310831" y="44314"/>
                        <a:pt x="310831" y="98979"/>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5" name="Graphic 2">
                  <a:extLst>
                    <a:ext uri="{FF2B5EF4-FFF2-40B4-BE49-F238E27FC236}">
                      <a16:creationId xmlns:a16="http://schemas.microsoft.com/office/drawing/2014/main" id="{D68E0652-89E1-44AA-BB3B-955ED20E812D}"/>
                    </a:ext>
                  </a:extLst>
                </p:cNvPr>
                <p:cNvSpPr/>
                <p:nvPr/>
              </p:nvSpPr>
              <p:spPr>
                <a:xfrm rot="17091035">
                  <a:off x="5599487" y="5635042"/>
                  <a:ext cx="50575" cy="36496"/>
                </a:xfrm>
                <a:custGeom>
                  <a:avLst/>
                  <a:gdLst>
                    <a:gd name="connsiteX0" fmla="*/ 489977 w 489976"/>
                    <a:gd name="connsiteY0" fmla="*/ 176793 h 353586"/>
                    <a:gd name="connsiteX1" fmla="*/ 244988 w 489976"/>
                    <a:gd name="connsiteY1" fmla="*/ 353587 h 353586"/>
                    <a:gd name="connsiteX2" fmla="*/ 0 w 489976"/>
                    <a:gd name="connsiteY2" fmla="*/ 176793 h 353586"/>
                    <a:gd name="connsiteX3" fmla="*/ 244988 w 489976"/>
                    <a:gd name="connsiteY3" fmla="*/ 0 h 353586"/>
                    <a:gd name="connsiteX4" fmla="*/ 489977 w 489976"/>
                    <a:gd name="connsiteY4" fmla="*/ 176793 h 353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976" h="353586">
                      <a:moveTo>
                        <a:pt x="489977" y="176793"/>
                      </a:moveTo>
                      <a:cubicBezTo>
                        <a:pt x="489977" y="274433"/>
                        <a:pt x="380292" y="353587"/>
                        <a:pt x="244988" y="353587"/>
                      </a:cubicBezTo>
                      <a:cubicBezTo>
                        <a:pt x="109685" y="353587"/>
                        <a:pt x="0" y="274433"/>
                        <a:pt x="0" y="176793"/>
                      </a:cubicBezTo>
                      <a:cubicBezTo>
                        <a:pt x="0" y="79153"/>
                        <a:pt x="109684" y="0"/>
                        <a:pt x="244988" y="0"/>
                      </a:cubicBezTo>
                      <a:cubicBezTo>
                        <a:pt x="380291" y="0"/>
                        <a:pt x="489977" y="79153"/>
                        <a:pt x="489977" y="176793"/>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6" name="Graphic 2">
                  <a:extLst>
                    <a:ext uri="{FF2B5EF4-FFF2-40B4-BE49-F238E27FC236}">
                      <a16:creationId xmlns:a16="http://schemas.microsoft.com/office/drawing/2014/main" id="{A345F999-1398-46DA-9B07-472BBEE4B680}"/>
                    </a:ext>
                  </a:extLst>
                </p:cNvPr>
                <p:cNvSpPr/>
                <p:nvPr/>
              </p:nvSpPr>
              <p:spPr>
                <a:xfrm rot="17091035">
                  <a:off x="5611138" y="5654628"/>
                  <a:ext cx="17300" cy="12489"/>
                </a:xfrm>
                <a:custGeom>
                  <a:avLst/>
                  <a:gdLst>
                    <a:gd name="connsiteX0" fmla="*/ 167601 w 167601"/>
                    <a:gd name="connsiteY0" fmla="*/ 60499 h 120997"/>
                    <a:gd name="connsiteX1" fmla="*/ 83801 w 167601"/>
                    <a:gd name="connsiteY1" fmla="*/ 120998 h 120997"/>
                    <a:gd name="connsiteX2" fmla="*/ 0 w 167601"/>
                    <a:gd name="connsiteY2" fmla="*/ 60499 h 120997"/>
                    <a:gd name="connsiteX3" fmla="*/ 83801 w 167601"/>
                    <a:gd name="connsiteY3" fmla="*/ 0 h 120997"/>
                    <a:gd name="connsiteX4" fmla="*/ 167601 w 167601"/>
                    <a:gd name="connsiteY4" fmla="*/ 60499 h 120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601" h="120997">
                      <a:moveTo>
                        <a:pt x="167601" y="60499"/>
                      </a:moveTo>
                      <a:cubicBezTo>
                        <a:pt x="167601" y="93911"/>
                        <a:pt x="130082" y="120998"/>
                        <a:pt x="83801" y="120998"/>
                      </a:cubicBezTo>
                      <a:cubicBezTo>
                        <a:pt x="37519" y="120998"/>
                        <a:pt x="0" y="93911"/>
                        <a:pt x="0" y="60499"/>
                      </a:cubicBezTo>
                      <a:cubicBezTo>
                        <a:pt x="0" y="27086"/>
                        <a:pt x="37519" y="0"/>
                        <a:pt x="83801" y="0"/>
                      </a:cubicBezTo>
                      <a:cubicBezTo>
                        <a:pt x="130083" y="0"/>
                        <a:pt x="167601" y="27086"/>
                        <a:pt x="167601" y="60499"/>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7" name="Graphic 2">
                  <a:extLst>
                    <a:ext uri="{FF2B5EF4-FFF2-40B4-BE49-F238E27FC236}">
                      <a16:creationId xmlns:a16="http://schemas.microsoft.com/office/drawing/2014/main" id="{2779F43C-35A6-4125-9FE0-2A4426702A1D}"/>
                    </a:ext>
                  </a:extLst>
                </p:cNvPr>
                <p:cNvSpPr/>
                <p:nvPr/>
              </p:nvSpPr>
              <p:spPr>
                <a:xfrm>
                  <a:off x="5595136" y="5601118"/>
                  <a:ext cx="109251" cy="77990"/>
                </a:xfrm>
                <a:custGeom>
                  <a:avLst/>
                  <a:gdLst>
                    <a:gd name="connsiteX0" fmla="*/ 1057979 w 1058445"/>
                    <a:gd name="connsiteY0" fmla="*/ 265938 h 755567"/>
                    <a:gd name="connsiteX1" fmla="*/ 1056697 w 1058445"/>
                    <a:gd name="connsiteY1" fmla="*/ 275558 h 755567"/>
                    <a:gd name="connsiteX2" fmla="*/ 1055414 w 1058445"/>
                    <a:gd name="connsiteY2" fmla="*/ 280688 h 755567"/>
                    <a:gd name="connsiteX3" fmla="*/ 1001115 w 1058445"/>
                    <a:gd name="connsiteY3" fmla="*/ 370047 h 755567"/>
                    <a:gd name="connsiteX4" fmla="*/ 973110 w 1058445"/>
                    <a:gd name="connsiteY4" fmla="*/ 402755 h 755567"/>
                    <a:gd name="connsiteX5" fmla="*/ 1012017 w 1058445"/>
                    <a:gd name="connsiteY5" fmla="*/ 444441 h 755567"/>
                    <a:gd name="connsiteX6" fmla="*/ 1026340 w 1058445"/>
                    <a:gd name="connsiteY6" fmla="*/ 459833 h 755567"/>
                    <a:gd name="connsiteX7" fmla="*/ 927575 w 1058445"/>
                    <a:gd name="connsiteY7" fmla="*/ 459833 h 755567"/>
                    <a:gd name="connsiteX8" fmla="*/ 710379 w 1058445"/>
                    <a:gd name="connsiteY8" fmla="*/ 735391 h 755567"/>
                    <a:gd name="connsiteX9" fmla="*/ 692208 w 1058445"/>
                    <a:gd name="connsiteY9" fmla="*/ 740521 h 755567"/>
                    <a:gd name="connsiteX10" fmla="*/ 661424 w 1058445"/>
                    <a:gd name="connsiteY10" fmla="*/ 747790 h 755567"/>
                    <a:gd name="connsiteX11" fmla="*/ 437173 w 1058445"/>
                    <a:gd name="connsiteY11" fmla="*/ 703111 h 755567"/>
                    <a:gd name="connsiteX12" fmla="*/ 425842 w 1058445"/>
                    <a:gd name="connsiteY12" fmla="*/ 676602 h 755567"/>
                    <a:gd name="connsiteX13" fmla="*/ 399120 w 1058445"/>
                    <a:gd name="connsiteY13" fmla="*/ 676602 h 755567"/>
                    <a:gd name="connsiteX14" fmla="*/ 298432 w 1058445"/>
                    <a:gd name="connsiteY14" fmla="*/ 644322 h 755567"/>
                    <a:gd name="connsiteX15" fmla="*/ 277482 w 1058445"/>
                    <a:gd name="connsiteY15" fmla="*/ 596436 h 755567"/>
                    <a:gd name="connsiteX16" fmla="*/ 231947 w 1058445"/>
                    <a:gd name="connsiteY16" fmla="*/ 596436 h 755567"/>
                    <a:gd name="connsiteX17" fmla="*/ 79952 w 1058445"/>
                    <a:gd name="connsiteY17" fmla="*/ 539785 h 755567"/>
                    <a:gd name="connsiteX18" fmla="*/ 74180 w 1058445"/>
                    <a:gd name="connsiteY18" fmla="*/ 469453 h 755567"/>
                    <a:gd name="connsiteX19" fmla="*/ 0 w 1058445"/>
                    <a:gd name="connsiteY19" fmla="*/ 435890 h 755567"/>
                    <a:gd name="connsiteX20" fmla="*/ 19026 w 1058445"/>
                    <a:gd name="connsiteY20" fmla="*/ 230024 h 755567"/>
                    <a:gd name="connsiteX21" fmla="*/ 91282 w 1058445"/>
                    <a:gd name="connsiteY21" fmla="*/ 230024 h 755567"/>
                    <a:gd name="connsiteX22" fmla="*/ 91282 w 1058445"/>
                    <a:gd name="connsiteY22" fmla="*/ 133183 h 755567"/>
                    <a:gd name="connsiteX23" fmla="*/ 123563 w 1058445"/>
                    <a:gd name="connsiteY23" fmla="*/ 81876 h 755567"/>
                    <a:gd name="connsiteX24" fmla="*/ 132969 w 1058445"/>
                    <a:gd name="connsiteY24" fmla="*/ 43824 h 755567"/>
                    <a:gd name="connsiteX25" fmla="*/ 273634 w 1058445"/>
                    <a:gd name="connsiteY25" fmla="*/ 43824 h 755567"/>
                    <a:gd name="connsiteX26" fmla="*/ 448503 w 1058445"/>
                    <a:gd name="connsiteY26" fmla="*/ 87435 h 755567"/>
                    <a:gd name="connsiteX27" fmla="*/ 455985 w 1058445"/>
                    <a:gd name="connsiteY27" fmla="*/ 121639 h 755567"/>
                    <a:gd name="connsiteX28" fmla="*/ 482707 w 1058445"/>
                    <a:gd name="connsiteY28" fmla="*/ 127411 h 755567"/>
                    <a:gd name="connsiteX29" fmla="*/ 482707 w 1058445"/>
                    <a:gd name="connsiteY29" fmla="*/ 230024 h 755567"/>
                    <a:gd name="connsiteX30" fmla="*/ 513063 w 1058445"/>
                    <a:gd name="connsiteY30" fmla="*/ 174869 h 755567"/>
                    <a:gd name="connsiteX31" fmla="*/ 592802 w 1058445"/>
                    <a:gd name="connsiteY31" fmla="*/ 157767 h 755567"/>
                    <a:gd name="connsiteX32" fmla="*/ 606056 w 1058445"/>
                    <a:gd name="connsiteY32" fmla="*/ 68408 h 755567"/>
                    <a:gd name="connsiteX33" fmla="*/ 663134 w 1058445"/>
                    <a:gd name="connsiteY33" fmla="*/ 10048 h 755567"/>
                    <a:gd name="connsiteX34" fmla="*/ 678312 w 1058445"/>
                    <a:gd name="connsiteY34" fmla="*/ 0 h 755567"/>
                    <a:gd name="connsiteX35" fmla="*/ 751851 w 1058445"/>
                    <a:gd name="connsiteY35" fmla="*/ 115867 h 755567"/>
                    <a:gd name="connsiteX36" fmla="*/ 818977 w 1058445"/>
                    <a:gd name="connsiteY36" fmla="*/ 57934 h 755567"/>
                    <a:gd name="connsiteX37" fmla="*/ 1029547 w 1058445"/>
                    <a:gd name="connsiteY37" fmla="*/ 86366 h 755567"/>
                    <a:gd name="connsiteX38" fmla="*/ 1035746 w 1058445"/>
                    <a:gd name="connsiteY38" fmla="*/ 140665 h 755567"/>
                    <a:gd name="connsiteX39" fmla="*/ 1057979 w 1058445"/>
                    <a:gd name="connsiteY39" fmla="*/ 265938 h 75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8445" h="755567">
                      <a:moveTo>
                        <a:pt x="1057979" y="265938"/>
                      </a:moveTo>
                      <a:cubicBezTo>
                        <a:pt x="1057765" y="269358"/>
                        <a:pt x="1057338" y="272565"/>
                        <a:pt x="1056697" y="275558"/>
                      </a:cubicBezTo>
                      <a:cubicBezTo>
                        <a:pt x="1056269" y="277268"/>
                        <a:pt x="1055841" y="278978"/>
                        <a:pt x="1055414" y="280688"/>
                      </a:cubicBezTo>
                      <a:cubicBezTo>
                        <a:pt x="1047718" y="308052"/>
                        <a:pt x="1021851" y="344180"/>
                        <a:pt x="1001115" y="370047"/>
                      </a:cubicBezTo>
                      <a:cubicBezTo>
                        <a:pt x="985723" y="389287"/>
                        <a:pt x="973110" y="402755"/>
                        <a:pt x="973110" y="402755"/>
                      </a:cubicBezTo>
                      <a:lnTo>
                        <a:pt x="1012017" y="444441"/>
                      </a:lnTo>
                      <a:lnTo>
                        <a:pt x="1026340" y="459833"/>
                      </a:lnTo>
                      <a:lnTo>
                        <a:pt x="927575" y="459833"/>
                      </a:lnTo>
                      <a:cubicBezTo>
                        <a:pt x="676816" y="547267"/>
                        <a:pt x="710379" y="735391"/>
                        <a:pt x="710379" y="735391"/>
                      </a:cubicBezTo>
                      <a:cubicBezTo>
                        <a:pt x="704179" y="737315"/>
                        <a:pt x="698194" y="739025"/>
                        <a:pt x="692208" y="740521"/>
                      </a:cubicBezTo>
                      <a:cubicBezTo>
                        <a:pt x="681519" y="743301"/>
                        <a:pt x="671258" y="745652"/>
                        <a:pt x="661424" y="747790"/>
                      </a:cubicBezTo>
                      <a:cubicBezTo>
                        <a:pt x="514346" y="777077"/>
                        <a:pt x="445724" y="715082"/>
                        <a:pt x="437173" y="703111"/>
                      </a:cubicBezTo>
                      <a:cubicBezTo>
                        <a:pt x="427767" y="689857"/>
                        <a:pt x="425842" y="676602"/>
                        <a:pt x="425842" y="676602"/>
                      </a:cubicBezTo>
                      <a:lnTo>
                        <a:pt x="399120" y="676602"/>
                      </a:lnTo>
                      <a:cubicBezTo>
                        <a:pt x="399120" y="676602"/>
                        <a:pt x="313610" y="657576"/>
                        <a:pt x="298432" y="644322"/>
                      </a:cubicBezTo>
                      <a:cubicBezTo>
                        <a:pt x="283254" y="631068"/>
                        <a:pt x="277482" y="596436"/>
                        <a:pt x="277482" y="596436"/>
                      </a:cubicBezTo>
                      <a:lnTo>
                        <a:pt x="231947" y="596436"/>
                      </a:lnTo>
                      <a:lnTo>
                        <a:pt x="79952" y="539785"/>
                      </a:lnTo>
                      <a:lnTo>
                        <a:pt x="74180" y="469453"/>
                      </a:lnTo>
                      <a:lnTo>
                        <a:pt x="0" y="435890"/>
                      </a:lnTo>
                      <a:lnTo>
                        <a:pt x="19026" y="230024"/>
                      </a:lnTo>
                      <a:lnTo>
                        <a:pt x="91282" y="230024"/>
                      </a:lnTo>
                      <a:lnTo>
                        <a:pt x="91282" y="133183"/>
                      </a:lnTo>
                      <a:lnTo>
                        <a:pt x="123563" y="81876"/>
                      </a:lnTo>
                      <a:lnTo>
                        <a:pt x="132969" y="43824"/>
                      </a:lnTo>
                      <a:lnTo>
                        <a:pt x="273634" y="43824"/>
                      </a:lnTo>
                      <a:lnTo>
                        <a:pt x="448503" y="87435"/>
                      </a:lnTo>
                      <a:lnTo>
                        <a:pt x="455985" y="121639"/>
                      </a:lnTo>
                      <a:lnTo>
                        <a:pt x="482707" y="127411"/>
                      </a:lnTo>
                      <a:lnTo>
                        <a:pt x="482707" y="230024"/>
                      </a:lnTo>
                      <a:cubicBezTo>
                        <a:pt x="482707" y="230024"/>
                        <a:pt x="497885" y="193896"/>
                        <a:pt x="513063" y="174869"/>
                      </a:cubicBezTo>
                      <a:cubicBezTo>
                        <a:pt x="528242" y="155843"/>
                        <a:pt x="592802" y="157767"/>
                        <a:pt x="592802" y="157767"/>
                      </a:cubicBezTo>
                      <a:cubicBezTo>
                        <a:pt x="592802" y="157767"/>
                        <a:pt x="596650" y="98765"/>
                        <a:pt x="606056" y="68408"/>
                      </a:cubicBezTo>
                      <a:cubicBezTo>
                        <a:pt x="612469" y="47672"/>
                        <a:pt x="643894" y="23302"/>
                        <a:pt x="663134" y="10048"/>
                      </a:cubicBezTo>
                      <a:cubicBezTo>
                        <a:pt x="672113" y="3848"/>
                        <a:pt x="678312" y="0"/>
                        <a:pt x="678312" y="0"/>
                      </a:cubicBezTo>
                      <a:lnTo>
                        <a:pt x="751851" y="115867"/>
                      </a:lnTo>
                      <a:cubicBezTo>
                        <a:pt x="751851" y="115867"/>
                        <a:pt x="774725" y="58148"/>
                        <a:pt x="818977" y="57934"/>
                      </a:cubicBezTo>
                      <a:cubicBezTo>
                        <a:pt x="857029" y="57720"/>
                        <a:pt x="991708" y="79953"/>
                        <a:pt x="1029547" y="86366"/>
                      </a:cubicBezTo>
                      <a:cubicBezTo>
                        <a:pt x="1037029" y="119074"/>
                        <a:pt x="1035746" y="140665"/>
                        <a:pt x="1035746" y="140665"/>
                      </a:cubicBezTo>
                      <a:cubicBezTo>
                        <a:pt x="1035746" y="140665"/>
                        <a:pt x="1062254" y="217197"/>
                        <a:pt x="1057979" y="265938"/>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8" name="Graphic 2">
                  <a:extLst>
                    <a:ext uri="{FF2B5EF4-FFF2-40B4-BE49-F238E27FC236}">
                      <a16:creationId xmlns:a16="http://schemas.microsoft.com/office/drawing/2014/main" id="{0B3E152C-1C03-4402-8095-C7FB6CDF5FC5}"/>
                    </a:ext>
                  </a:extLst>
                </p:cNvPr>
                <p:cNvSpPr/>
                <p:nvPr/>
              </p:nvSpPr>
              <p:spPr>
                <a:xfrm>
                  <a:off x="5665150" y="5583236"/>
                  <a:ext cx="36254" cy="29843"/>
                </a:xfrm>
                <a:custGeom>
                  <a:avLst/>
                  <a:gdLst>
                    <a:gd name="connsiteX0" fmla="*/ 351235 w 351234"/>
                    <a:gd name="connsiteY0" fmla="*/ 259615 h 289116"/>
                    <a:gd name="connsiteX1" fmla="*/ 140665 w 351234"/>
                    <a:gd name="connsiteY1" fmla="*/ 231183 h 289116"/>
                    <a:gd name="connsiteX2" fmla="*/ 73539 w 351234"/>
                    <a:gd name="connsiteY2" fmla="*/ 289117 h 289116"/>
                    <a:gd name="connsiteX3" fmla="*/ 0 w 351234"/>
                    <a:gd name="connsiteY3" fmla="*/ 173249 h 289116"/>
                    <a:gd name="connsiteX4" fmla="*/ 0 w 351234"/>
                    <a:gd name="connsiteY4" fmla="*/ 55459 h 289116"/>
                    <a:gd name="connsiteX5" fmla="*/ 117790 w 351234"/>
                    <a:gd name="connsiteY5" fmla="*/ 2870 h 289116"/>
                    <a:gd name="connsiteX6" fmla="*/ 344821 w 351234"/>
                    <a:gd name="connsiteY6" fmla="*/ 236741 h 289116"/>
                    <a:gd name="connsiteX7" fmla="*/ 345890 w 351234"/>
                    <a:gd name="connsiteY7" fmla="*/ 239734 h 289116"/>
                    <a:gd name="connsiteX8" fmla="*/ 351235 w 351234"/>
                    <a:gd name="connsiteY8" fmla="*/ 259615 h 28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234" h="289116">
                      <a:moveTo>
                        <a:pt x="351235" y="259615"/>
                      </a:moveTo>
                      <a:cubicBezTo>
                        <a:pt x="313396" y="253202"/>
                        <a:pt x="178717" y="230969"/>
                        <a:pt x="140665" y="231183"/>
                      </a:cubicBezTo>
                      <a:cubicBezTo>
                        <a:pt x="96413" y="231610"/>
                        <a:pt x="73539" y="289117"/>
                        <a:pt x="73539" y="289117"/>
                      </a:cubicBezTo>
                      <a:lnTo>
                        <a:pt x="0" y="173249"/>
                      </a:lnTo>
                      <a:lnTo>
                        <a:pt x="0" y="55459"/>
                      </a:lnTo>
                      <a:cubicBezTo>
                        <a:pt x="0" y="55459"/>
                        <a:pt x="9620" y="-14873"/>
                        <a:pt x="117790" y="2870"/>
                      </a:cubicBezTo>
                      <a:cubicBezTo>
                        <a:pt x="223824" y="20186"/>
                        <a:pt x="327719" y="188428"/>
                        <a:pt x="344821" y="236741"/>
                      </a:cubicBezTo>
                      <a:cubicBezTo>
                        <a:pt x="345249" y="237810"/>
                        <a:pt x="345462" y="238879"/>
                        <a:pt x="345890" y="239734"/>
                      </a:cubicBezTo>
                      <a:cubicBezTo>
                        <a:pt x="348028" y="246575"/>
                        <a:pt x="349738" y="253202"/>
                        <a:pt x="351235" y="259615"/>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799" name="Graphic 2">
                  <a:extLst>
                    <a:ext uri="{FF2B5EF4-FFF2-40B4-BE49-F238E27FC236}">
                      <a16:creationId xmlns:a16="http://schemas.microsoft.com/office/drawing/2014/main" id="{35A84698-688B-4C41-8977-7A53163CE0D2}"/>
                    </a:ext>
                  </a:extLst>
                </p:cNvPr>
                <p:cNvSpPr/>
                <p:nvPr/>
              </p:nvSpPr>
              <p:spPr>
                <a:xfrm>
                  <a:off x="5663606" y="5601096"/>
                  <a:ext cx="40781" cy="30052"/>
                </a:xfrm>
                <a:custGeom>
                  <a:avLst/>
                  <a:gdLst>
                    <a:gd name="connsiteX0" fmla="*/ 394631 w 395100"/>
                    <a:gd name="connsiteY0" fmla="*/ 266152 h 291142"/>
                    <a:gd name="connsiteX1" fmla="*/ 393348 w 395100"/>
                    <a:gd name="connsiteY1" fmla="*/ 275771 h 291142"/>
                    <a:gd name="connsiteX2" fmla="*/ 392066 w 395100"/>
                    <a:gd name="connsiteY2" fmla="*/ 280902 h 291142"/>
                    <a:gd name="connsiteX3" fmla="*/ 151995 w 395100"/>
                    <a:gd name="connsiteY3" fmla="*/ 235795 h 291142"/>
                    <a:gd name="connsiteX4" fmla="*/ 0 w 395100"/>
                    <a:gd name="connsiteY4" fmla="*/ 10047 h 291142"/>
                    <a:gd name="connsiteX5" fmla="*/ 15178 w 395100"/>
                    <a:gd name="connsiteY5" fmla="*/ 0 h 291142"/>
                    <a:gd name="connsiteX6" fmla="*/ 88717 w 395100"/>
                    <a:gd name="connsiteY6" fmla="*/ 115867 h 291142"/>
                    <a:gd name="connsiteX7" fmla="*/ 155843 w 395100"/>
                    <a:gd name="connsiteY7" fmla="*/ 57933 h 291142"/>
                    <a:gd name="connsiteX8" fmla="*/ 366412 w 395100"/>
                    <a:gd name="connsiteY8" fmla="*/ 86365 h 291142"/>
                    <a:gd name="connsiteX9" fmla="*/ 372612 w 395100"/>
                    <a:gd name="connsiteY9" fmla="*/ 140665 h 291142"/>
                    <a:gd name="connsiteX10" fmla="*/ 394631 w 395100"/>
                    <a:gd name="connsiteY10" fmla="*/ 266152 h 29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5100" h="291142">
                      <a:moveTo>
                        <a:pt x="394631" y="266152"/>
                      </a:moveTo>
                      <a:cubicBezTo>
                        <a:pt x="394417" y="269572"/>
                        <a:pt x="393990" y="272778"/>
                        <a:pt x="393348" y="275771"/>
                      </a:cubicBezTo>
                      <a:cubicBezTo>
                        <a:pt x="392921" y="277482"/>
                        <a:pt x="392493" y="279192"/>
                        <a:pt x="392066" y="280902"/>
                      </a:cubicBezTo>
                      <a:cubicBezTo>
                        <a:pt x="327078" y="310189"/>
                        <a:pt x="223824" y="270854"/>
                        <a:pt x="151995" y="235795"/>
                      </a:cubicBezTo>
                      <a:cubicBezTo>
                        <a:pt x="82304" y="201805"/>
                        <a:pt x="19026" y="57078"/>
                        <a:pt x="0" y="10047"/>
                      </a:cubicBezTo>
                      <a:cubicBezTo>
                        <a:pt x="8979" y="3848"/>
                        <a:pt x="15178" y="0"/>
                        <a:pt x="15178" y="0"/>
                      </a:cubicBezTo>
                      <a:lnTo>
                        <a:pt x="88717" y="115867"/>
                      </a:lnTo>
                      <a:cubicBezTo>
                        <a:pt x="88717" y="115867"/>
                        <a:pt x="111591" y="58147"/>
                        <a:pt x="155843" y="57933"/>
                      </a:cubicBezTo>
                      <a:cubicBezTo>
                        <a:pt x="193895" y="57720"/>
                        <a:pt x="328574" y="79952"/>
                        <a:pt x="366412" y="86365"/>
                      </a:cubicBezTo>
                      <a:cubicBezTo>
                        <a:pt x="373895" y="119073"/>
                        <a:pt x="372612" y="140665"/>
                        <a:pt x="372612" y="140665"/>
                      </a:cubicBezTo>
                      <a:cubicBezTo>
                        <a:pt x="372612" y="140665"/>
                        <a:pt x="398906" y="217410"/>
                        <a:pt x="394631" y="266152"/>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0" name="Graphic 2">
                  <a:extLst>
                    <a:ext uri="{FF2B5EF4-FFF2-40B4-BE49-F238E27FC236}">
                      <a16:creationId xmlns:a16="http://schemas.microsoft.com/office/drawing/2014/main" id="{6696BACD-934E-4AF5-9AA1-F45B49A36DAF}"/>
                    </a:ext>
                  </a:extLst>
                </p:cNvPr>
                <p:cNvSpPr/>
                <p:nvPr/>
              </p:nvSpPr>
              <p:spPr>
                <a:xfrm>
                  <a:off x="5656534" y="5633203"/>
                  <a:ext cx="43439" cy="45080"/>
                </a:xfrm>
                <a:custGeom>
                  <a:avLst/>
                  <a:gdLst>
                    <a:gd name="connsiteX0" fmla="*/ 403926 w 420847"/>
                    <a:gd name="connsiteY0" fmla="*/ 44248 h 436741"/>
                    <a:gd name="connsiteX1" fmla="*/ 368011 w 420847"/>
                    <a:gd name="connsiteY1" fmla="*/ 76528 h 436741"/>
                    <a:gd name="connsiteX2" fmla="*/ 365446 w 420847"/>
                    <a:gd name="connsiteY2" fmla="*/ 78452 h 436741"/>
                    <a:gd name="connsiteX3" fmla="*/ 143760 w 420847"/>
                    <a:gd name="connsiteY3" fmla="*/ 208855 h 436741"/>
                    <a:gd name="connsiteX4" fmla="*/ 97370 w 420847"/>
                    <a:gd name="connsiteY4" fmla="*/ 429472 h 436741"/>
                    <a:gd name="connsiteX5" fmla="*/ 66586 w 420847"/>
                    <a:gd name="connsiteY5" fmla="*/ 436741 h 436741"/>
                    <a:gd name="connsiteX6" fmla="*/ 102 w 420847"/>
                    <a:gd name="connsiteY6" fmla="*/ 345886 h 436741"/>
                    <a:gd name="connsiteX7" fmla="*/ 68511 w 420847"/>
                    <a:gd name="connsiteY7" fmla="*/ 168452 h 436741"/>
                    <a:gd name="connsiteX8" fmla="*/ 148463 w 420847"/>
                    <a:gd name="connsiteY8" fmla="*/ 45744 h 436741"/>
                    <a:gd name="connsiteX9" fmla="*/ 197631 w 420847"/>
                    <a:gd name="connsiteY9" fmla="*/ 6195 h 436741"/>
                    <a:gd name="connsiteX10" fmla="*/ 360529 w 420847"/>
                    <a:gd name="connsiteY10" fmla="*/ 13677 h 436741"/>
                    <a:gd name="connsiteX11" fmla="*/ 399864 w 420847"/>
                    <a:gd name="connsiteY11" fmla="*/ 15815 h 436741"/>
                    <a:gd name="connsiteX12" fmla="*/ 406705 w 420847"/>
                    <a:gd name="connsiteY12" fmla="*/ 14960 h 436741"/>
                    <a:gd name="connsiteX13" fmla="*/ 403926 w 420847"/>
                    <a:gd name="connsiteY13" fmla="*/ 44248 h 4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847" h="436741">
                      <a:moveTo>
                        <a:pt x="403926" y="44248"/>
                      </a:moveTo>
                      <a:cubicBezTo>
                        <a:pt x="390886" y="57502"/>
                        <a:pt x="374211" y="71397"/>
                        <a:pt x="368011" y="76528"/>
                      </a:cubicBezTo>
                      <a:cubicBezTo>
                        <a:pt x="366301" y="77810"/>
                        <a:pt x="365446" y="78452"/>
                        <a:pt x="365446" y="78452"/>
                      </a:cubicBezTo>
                      <a:cubicBezTo>
                        <a:pt x="365446" y="78452"/>
                        <a:pt x="212810" y="48737"/>
                        <a:pt x="143760" y="208855"/>
                      </a:cubicBezTo>
                      <a:cubicBezTo>
                        <a:pt x="95874" y="320019"/>
                        <a:pt x="93950" y="394413"/>
                        <a:pt x="97370" y="429472"/>
                      </a:cubicBezTo>
                      <a:cubicBezTo>
                        <a:pt x="86682" y="432252"/>
                        <a:pt x="76420" y="434603"/>
                        <a:pt x="66586" y="436741"/>
                      </a:cubicBezTo>
                      <a:cubicBezTo>
                        <a:pt x="36444" y="419639"/>
                        <a:pt x="-2249" y="389282"/>
                        <a:pt x="102" y="345886"/>
                      </a:cubicBezTo>
                      <a:cubicBezTo>
                        <a:pt x="1813" y="312109"/>
                        <a:pt x="31100" y="238570"/>
                        <a:pt x="68511" y="168452"/>
                      </a:cubicBezTo>
                      <a:cubicBezTo>
                        <a:pt x="93308" y="121848"/>
                        <a:pt x="121955" y="76741"/>
                        <a:pt x="148463" y="45744"/>
                      </a:cubicBezTo>
                      <a:cubicBezTo>
                        <a:pt x="166206" y="25008"/>
                        <a:pt x="183308" y="10471"/>
                        <a:pt x="197631" y="6195"/>
                      </a:cubicBezTo>
                      <a:cubicBezTo>
                        <a:pt x="248083" y="-8769"/>
                        <a:pt x="311360" y="7264"/>
                        <a:pt x="360529" y="13677"/>
                      </a:cubicBezTo>
                      <a:cubicBezTo>
                        <a:pt x="375066" y="15602"/>
                        <a:pt x="388534" y="16671"/>
                        <a:pt x="399864" y="15815"/>
                      </a:cubicBezTo>
                      <a:cubicBezTo>
                        <a:pt x="402215" y="15602"/>
                        <a:pt x="404567" y="15388"/>
                        <a:pt x="406705" y="14960"/>
                      </a:cubicBezTo>
                      <a:cubicBezTo>
                        <a:pt x="430648" y="11540"/>
                        <a:pt x="420386" y="27359"/>
                        <a:pt x="403926" y="44248"/>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1" name="Graphic 2">
                  <a:extLst>
                    <a:ext uri="{FF2B5EF4-FFF2-40B4-BE49-F238E27FC236}">
                      <a16:creationId xmlns:a16="http://schemas.microsoft.com/office/drawing/2014/main" id="{C9D1F99E-07D3-4261-8E79-A5CB078485B2}"/>
                    </a:ext>
                  </a:extLst>
                </p:cNvPr>
                <p:cNvSpPr/>
                <p:nvPr/>
              </p:nvSpPr>
              <p:spPr>
                <a:xfrm>
                  <a:off x="5678111" y="5613365"/>
                  <a:ext cx="26275" cy="16923"/>
                </a:xfrm>
                <a:custGeom>
                  <a:avLst/>
                  <a:gdLst>
                    <a:gd name="connsiteX0" fmla="*/ 254094 w 254561"/>
                    <a:gd name="connsiteY0" fmla="*/ 147292 h 163949"/>
                    <a:gd name="connsiteX1" fmla="*/ 139724 w 254561"/>
                    <a:gd name="connsiteY1" fmla="*/ 156271 h 163949"/>
                    <a:gd name="connsiteX2" fmla="*/ 129 w 254561"/>
                    <a:gd name="connsiteY2" fmla="*/ 61354 h 163949"/>
                    <a:gd name="connsiteX3" fmla="*/ 52290 w 254561"/>
                    <a:gd name="connsiteY3" fmla="*/ 0 h 163949"/>
                    <a:gd name="connsiteX4" fmla="*/ 231862 w 254561"/>
                    <a:gd name="connsiteY4" fmla="*/ 21806 h 163949"/>
                    <a:gd name="connsiteX5" fmla="*/ 254094 w 254561"/>
                    <a:gd name="connsiteY5" fmla="*/ 147292 h 16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561" h="163949">
                      <a:moveTo>
                        <a:pt x="254094" y="147292"/>
                      </a:moveTo>
                      <a:cubicBezTo>
                        <a:pt x="229724" y="161829"/>
                        <a:pt x="192527" y="171449"/>
                        <a:pt x="139724" y="156271"/>
                      </a:cubicBezTo>
                      <a:cubicBezTo>
                        <a:pt x="27064" y="123990"/>
                        <a:pt x="-2223" y="84014"/>
                        <a:pt x="129" y="61354"/>
                      </a:cubicBezTo>
                      <a:cubicBezTo>
                        <a:pt x="2480" y="38480"/>
                        <a:pt x="52290" y="0"/>
                        <a:pt x="52290" y="0"/>
                      </a:cubicBezTo>
                      <a:cubicBezTo>
                        <a:pt x="52290" y="0"/>
                        <a:pt x="196803" y="56437"/>
                        <a:pt x="231862" y="21806"/>
                      </a:cubicBezTo>
                      <a:cubicBezTo>
                        <a:pt x="231862" y="21806"/>
                        <a:pt x="258370" y="98551"/>
                        <a:pt x="254094" y="14729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2" name="Graphic 2">
                  <a:extLst>
                    <a:ext uri="{FF2B5EF4-FFF2-40B4-BE49-F238E27FC236}">
                      <a16:creationId xmlns:a16="http://schemas.microsoft.com/office/drawing/2014/main" id="{0DAD7FA7-98A9-44A6-BDE7-B83EE1D587F6}"/>
                    </a:ext>
                  </a:extLst>
                </p:cNvPr>
                <p:cNvSpPr/>
                <p:nvPr/>
              </p:nvSpPr>
              <p:spPr>
                <a:xfrm>
                  <a:off x="5663583" y="5617822"/>
                  <a:ext cx="7122" cy="4578"/>
                </a:xfrm>
                <a:custGeom>
                  <a:avLst/>
                  <a:gdLst>
                    <a:gd name="connsiteX0" fmla="*/ 61782 w 68996"/>
                    <a:gd name="connsiteY0" fmla="*/ 0 h 44354"/>
                    <a:gd name="connsiteX1" fmla="*/ 66057 w 68996"/>
                    <a:gd name="connsiteY1" fmla="*/ 33349 h 44354"/>
                    <a:gd name="connsiteX2" fmla="*/ 0 w 68996"/>
                    <a:gd name="connsiteY2" fmla="*/ 44252 h 44354"/>
                    <a:gd name="connsiteX3" fmla="*/ 15178 w 68996"/>
                    <a:gd name="connsiteY3" fmla="*/ 6627 h 44354"/>
                    <a:gd name="connsiteX4" fmla="*/ 61782 w 68996"/>
                    <a:gd name="connsiteY4" fmla="*/ 0 h 4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996" h="44354">
                      <a:moveTo>
                        <a:pt x="61782" y="0"/>
                      </a:moveTo>
                      <a:cubicBezTo>
                        <a:pt x="61782" y="0"/>
                        <a:pt x="74608" y="20522"/>
                        <a:pt x="66057" y="33349"/>
                      </a:cubicBezTo>
                      <a:cubicBezTo>
                        <a:pt x="57506" y="46175"/>
                        <a:pt x="0" y="44252"/>
                        <a:pt x="0" y="44252"/>
                      </a:cubicBezTo>
                      <a:lnTo>
                        <a:pt x="15178" y="6627"/>
                      </a:lnTo>
                      <a:lnTo>
                        <a:pt x="61782"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3" name="Graphic 2">
                  <a:extLst>
                    <a:ext uri="{FF2B5EF4-FFF2-40B4-BE49-F238E27FC236}">
                      <a16:creationId xmlns:a16="http://schemas.microsoft.com/office/drawing/2014/main" id="{12B5F9A4-C891-453C-8235-D981BDAA2815}"/>
                    </a:ext>
                  </a:extLst>
                </p:cNvPr>
                <p:cNvSpPr/>
                <p:nvPr/>
              </p:nvSpPr>
              <p:spPr>
                <a:xfrm>
                  <a:off x="5653903" y="5613014"/>
                  <a:ext cx="11280" cy="9472"/>
                </a:xfrm>
                <a:custGeom>
                  <a:avLst/>
                  <a:gdLst>
                    <a:gd name="connsiteX0" fmla="*/ 9775 w 109286"/>
                    <a:gd name="connsiteY0" fmla="*/ 3405 h 91767"/>
                    <a:gd name="connsiteX1" fmla="*/ 78611 w 109286"/>
                    <a:gd name="connsiteY1" fmla="*/ 12384 h 91767"/>
                    <a:gd name="connsiteX2" fmla="*/ 108967 w 109286"/>
                    <a:gd name="connsiteY2" fmla="*/ 53215 h 91767"/>
                    <a:gd name="connsiteX3" fmla="*/ 93789 w 109286"/>
                    <a:gd name="connsiteY3" fmla="*/ 90840 h 91767"/>
                    <a:gd name="connsiteX4" fmla="*/ 12981 w 109286"/>
                    <a:gd name="connsiteY4" fmla="*/ 42313 h 91767"/>
                    <a:gd name="connsiteX5" fmla="*/ 9775 w 109286"/>
                    <a:gd name="connsiteY5" fmla="*/ 3405 h 9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286" h="91767">
                      <a:moveTo>
                        <a:pt x="9775" y="3405"/>
                      </a:moveTo>
                      <a:cubicBezTo>
                        <a:pt x="9775" y="3405"/>
                        <a:pt x="52102" y="-8566"/>
                        <a:pt x="78611" y="12384"/>
                      </a:cubicBezTo>
                      <a:cubicBezTo>
                        <a:pt x="105119" y="33334"/>
                        <a:pt x="108967" y="53215"/>
                        <a:pt x="108967" y="53215"/>
                      </a:cubicBezTo>
                      <a:cubicBezTo>
                        <a:pt x="108967" y="53215"/>
                        <a:pt x="112815" y="86992"/>
                        <a:pt x="93789" y="90840"/>
                      </a:cubicBezTo>
                      <a:cubicBezTo>
                        <a:pt x="74763" y="94688"/>
                        <a:pt x="32435" y="88061"/>
                        <a:pt x="12981" y="42313"/>
                      </a:cubicBezTo>
                      <a:cubicBezTo>
                        <a:pt x="12981" y="42313"/>
                        <a:pt x="-13954" y="16232"/>
                        <a:pt x="9775" y="3405"/>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4" name="Graphic 2">
                  <a:extLst>
                    <a:ext uri="{FF2B5EF4-FFF2-40B4-BE49-F238E27FC236}">
                      <a16:creationId xmlns:a16="http://schemas.microsoft.com/office/drawing/2014/main" id="{80D9F47D-3FA0-4A8C-BC2B-0D8F704CC71E}"/>
                    </a:ext>
                  </a:extLst>
                </p:cNvPr>
                <p:cNvSpPr/>
                <p:nvPr/>
              </p:nvSpPr>
              <p:spPr>
                <a:xfrm>
                  <a:off x="5651870" y="5625811"/>
                  <a:ext cx="19988" cy="24801"/>
                </a:xfrm>
                <a:custGeom>
                  <a:avLst/>
                  <a:gdLst>
                    <a:gd name="connsiteX0" fmla="*/ 193652 w 193652"/>
                    <a:gd name="connsiteY0" fmla="*/ 117567 h 240273"/>
                    <a:gd name="connsiteX1" fmla="*/ 113700 w 193652"/>
                    <a:gd name="connsiteY1" fmla="*/ 240274 h 240273"/>
                    <a:gd name="connsiteX2" fmla="*/ 69234 w 193652"/>
                    <a:gd name="connsiteY2" fmla="*/ 206070 h 240273"/>
                    <a:gd name="connsiteX3" fmla="*/ 1040 w 193652"/>
                    <a:gd name="connsiteY3" fmla="*/ 36973 h 240273"/>
                    <a:gd name="connsiteX4" fmla="*/ 9804 w 193652"/>
                    <a:gd name="connsiteY4" fmla="*/ 15381 h 240273"/>
                    <a:gd name="connsiteX5" fmla="*/ 34816 w 193652"/>
                    <a:gd name="connsiteY5" fmla="*/ 2982 h 240273"/>
                    <a:gd name="connsiteX6" fmla="*/ 69020 w 193652"/>
                    <a:gd name="connsiteY6" fmla="*/ 9823 h 240273"/>
                    <a:gd name="connsiteX7" fmla="*/ 193652 w 193652"/>
                    <a:gd name="connsiteY7" fmla="*/ 117567 h 240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652" h="240273">
                      <a:moveTo>
                        <a:pt x="193652" y="117567"/>
                      </a:moveTo>
                      <a:cubicBezTo>
                        <a:pt x="167144" y="148564"/>
                        <a:pt x="138498" y="193671"/>
                        <a:pt x="113700" y="240274"/>
                      </a:cubicBezTo>
                      <a:cubicBezTo>
                        <a:pt x="113700" y="240274"/>
                        <a:pt x="84626" y="225096"/>
                        <a:pt x="69234" y="206070"/>
                      </a:cubicBezTo>
                      <a:cubicBezTo>
                        <a:pt x="56835" y="190464"/>
                        <a:pt x="15576" y="77804"/>
                        <a:pt x="1040" y="36973"/>
                      </a:cubicBezTo>
                      <a:cubicBezTo>
                        <a:pt x="-1953" y="28635"/>
                        <a:pt x="1681" y="19443"/>
                        <a:pt x="9804" y="15381"/>
                      </a:cubicBezTo>
                      <a:lnTo>
                        <a:pt x="34816" y="2982"/>
                      </a:lnTo>
                      <a:cubicBezTo>
                        <a:pt x="46360" y="-2790"/>
                        <a:pt x="60469" y="-10"/>
                        <a:pt x="69020" y="9823"/>
                      </a:cubicBezTo>
                      <a:cubicBezTo>
                        <a:pt x="94674" y="39538"/>
                        <a:pt x="150897" y="99823"/>
                        <a:pt x="193652" y="117567"/>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5" name="Graphic 2">
                  <a:extLst>
                    <a:ext uri="{FF2B5EF4-FFF2-40B4-BE49-F238E27FC236}">
                      <a16:creationId xmlns:a16="http://schemas.microsoft.com/office/drawing/2014/main" id="{B77858D2-80B2-48C2-B746-39253C5EC81D}"/>
                    </a:ext>
                  </a:extLst>
                </p:cNvPr>
                <p:cNvSpPr/>
                <p:nvPr/>
              </p:nvSpPr>
              <p:spPr>
                <a:xfrm>
                  <a:off x="5642768" y="5640109"/>
                  <a:ext cx="10495" cy="26399"/>
                </a:xfrm>
                <a:custGeom>
                  <a:avLst/>
                  <a:gdLst>
                    <a:gd name="connsiteX0" fmla="*/ 38979 w 101680"/>
                    <a:gd name="connsiteY0" fmla="*/ 0 h 255751"/>
                    <a:gd name="connsiteX1" fmla="*/ 2850 w 101680"/>
                    <a:gd name="connsiteY1" fmla="*/ 95344 h 255751"/>
                    <a:gd name="connsiteX2" fmla="*/ 2850 w 101680"/>
                    <a:gd name="connsiteY2" fmla="*/ 189619 h 255751"/>
                    <a:gd name="connsiteX3" fmla="*/ 88147 w 101680"/>
                    <a:gd name="connsiteY3" fmla="*/ 252897 h 255751"/>
                    <a:gd name="connsiteX4" fmla="*/ 93492 w 101680"/>
                    <a:gd name="connsiteY4" fmla="*/ 131900 h 255751"/>
                    <a:gd name="connsiteX5" fmla="*/ 38979 w 101680"/>
                    <a:gd name="connsiteY5" fmla="*/ 0 h 25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680" h="255751">
                      <a:moveTo>
                        <a:pt x="38979" y="0"/>
                      </a:moveTo>
                      <a:cubicBezTo>
                        <a:pt x="38979" y="0"/>
                        <a:pt x="9264" y="59216"/>
                        <a:pt x="2850" y="95344"/>
                      </a:cubicBezTo>
                      <a:cubicBezTo>
                        <a:pt x="-3563" y="131472"/>
                        <a:pt x="2850" y="189619"/>
                        <a:pt x="2850" y="189619"/>
                      </a:cubicBezTo>
                      <a:cubicBezTo>
                        <a:pt x="2850" y="189619"/>
                        <a:pt x="74038" y="271923"/>
                        <a:pt x="88147" y="252897"/>
                      </a:cubicBezTo>
                      <a:cubicBezTo>
                        <a:pt x="102256" y="233871"/>
                        <a:pt x="107387" y="163539"/>
                        <a:pt x="93492" y="131900"/>
                      </a:cubicBezTo>
                      <a:cubicBezTo>
                        <a:pt x="79382" y="100475"/>
                        <a:pt x="50309" y="48313"/>
                        <a:pt x="38979" y="0"/>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6" name="Graphic 2">
                  <a:extLst>
                    <a:ext uri="{FF2B5EF4-FFF2-40B4-BE49-F238E27FC236}">
                      <a16:creationId xmlns:a16="http://schemas.microsoft.com/office/drawing/2014/main" id="{46ACB3E0-B8BF-4EF0-95A1-07E886588C19}"/>
                    </a:ext>
                  </a:extLst>
                </p:cNvPr>
                <p:cNvSpPr/>
                <p:nvPr/>
              </p:nvSpPr>
              <p:spPr>
                <a:xfrm>
                  <a:off x="5625643" y="5624244"/>
                  <a:ext cx="19317" cy="13536"/>
                </a:xfrm>
                <a:custGeom>
                  <a:avLst/>
                  <a:gdLst>
                    <a:gd name="connsiteX0" fmla="*/ 187146 w 187145"/>
                    <a:gd name="connsiteY0" fmla="*/ 5772 h 131137"/>
                    <a:gd name="connsiteX1" fmla="*/ 24675 w 187145"/>
                    <a:gd name="connsiteY1" fmla="*/ 0 h 131137"/>
                    <a:gd name="connsiteX2" fmla="*/ 946 w 187145"/>
                    <a:gd name="connsiteY2" fmla="*/ 33349 h 131137"/>
                    <a:gd name="connsiteX3" fmla="*/ 123013 w 187145"/>
                    <a:gd name="connsiteY3" fmla="*/ 126342 h 131137"/>
                    <a:gd name="connsiteX4" fmla="*/ 162561 w 187145"/>
                    <a:gd name="connsiteY4" fmla="*/ 119287 h 131137"/>
                    <a:gd name="connsiteX5" fmla="*/ 186932 w 187145"/>
                    <a:gd name="connsiteY5" fmla="*/ 70333 h 131137"/>
                    <a:gd name="connsiteX6" fmla="*/ 187146 w 187145"/>
                    <a:gd name="connsiteY6" fmla="*/ 5772 h 13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45" h="131137">
                      <a:moveTo>
                        <a:pt x="187146" y="5772"/>
                      </a:moveTo>
                      <a:lnTo>
                        <a:pt x="24675" y="0"/>
                      </a:lnTo>
                      <a:cubicBezTo>
                        <a:pt x="24675" y="0"/>
                        <a:pt x="-5681" y="13254"/>
                        <a:pt x="946" y="33349"/>
                      </a:cubicBezTo>
                      <a:cubicBezTo>
                        <a:pt x="5863" y="48314"/>
                        <a:pt x="83891" y="100689"/>
                        <a:pt x="123013" y="126342"/>
                      </a:cubicBezTo>
                      <a:cubicBezTo>
                        <a:pt x="136053" y="134893"/>
                        <a:pt x="153369" y="131686"/>
                        <a:pt x="162561" y="119287"/>
                      </a:cubicBezTo>
                      <a:cubicBezTo>
                        <a:pt x="174746" y="103040"/>
                        <a:pt x="188642" y="81662"/>
                        <a:pt x="186932" y="70333"/>
                      </a:cubicBezTo>
                      <a:cubicBezTo>
                        <a:pt x="184366" y="50451"/>
                        <a:pt x="184794" y="11330"/>
                        <a:pt x="187146" y="5772"/>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7" name="Graphic 2">
                  <a:extLst>
                    <a:ext uri="{FF2B5EF4-FFF2-40B4-BE49-F238E27FC236}">
                      <a16:creationId xmlns:a16="http://schemas.microsoft.com/office/drawing/2014/main" id="{466292F0-7E59-4A3A-A336-3A2FBD2425E2}"/>
                    </a:ext>
                  </a:extLst>
                </p:cNvPr>
                <p:cNvSpPr/>
                <p:nvPr/>
              </p:nvSpPr>
              <p:spPr>
                <a:xfrm>
                  <a:off x="5629889" y="5640727"/>
                  <a:ext cx="9576" cy="14034"/>
                </a:xfrm>
                <a:custGeom>
                  <a:avLst/>
                  <a:gdLst>
                    <a:gd name="connsiteX0" fmla="*/ 92779 w 92778"/>
                    <a:gd name="connsiteY0" fmla="*/ 33349 h 135961"/>
                    <a:gd name="connsiteX1" fmla="*/ 79525 w 92778"/>
                    <a:gd name="connsiteY1" fmla="*/ 135962 h 135961"/>
                    <a:gd name="connsiteX2" fmla="*/ 3421 w 92778"/>
                    <a:gd name="connsiteY2" fmla="*/ 84656 h 135961"/>
                    <a:gd name="connsiteX3" fmla="*/ 3421 w 92778"/>
                    <a:gd name="connsiteY3" fmla="*/ 0 h 135961"/>
                    <a:gd name="connsiteX4" fmla="*/ 92779 w 92778"/>
                    <a:gd name="connsiteY4" fmla="*/ 33349 h 135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78" h="135961">
                      <a:moveTo>
                        <a:pt x="92779" y="33349"/>
                      </a:moveTo>
                      <a:cubicBezTo>
                        <a:pt x="92779" y="33349"/>
                        <a:pt x="79525" y="91283"/>
                        <a:pt x="79525" y="135962"/>
                      </a:cubicBezTo>
                      <a:cubicBezTo>
                        <a:pt x="79525" y="135962"/>
                        <a:pt x="11116" y="95130"/>
                        <a:pt x="3421" y="84656"/>
                      </a:cubicBezTo>
                      <a:cubicBezTo>
                        <a:pt x="-4276" y="74181"/>
                        <a:pt x="3421" y="0"/>
                        <a:pt x="3421" y="0"/>
                      </a:cubicBezTo>
                      <a:cubicBezTo>
                        <a:pt x="3421" y="0"/>
                        <a:pt x="78456" y="8551"/>
                        <a:pt x="92779" y="33349"/>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8" name="Graphic 2">
                  <a:extLst>
                    <a:ext uri="{FF2B5EF4-FFF2-40B4-BE49-F238E27FC236}">
                      <a16:creationId xmlns:a16="http://schemas.microsoft.com/office/drawing/2014/main" id="{3CE83DDC-0DC7-4DCE-A1D0-CE1CD71295B9}"/>
                    </a:ext>
                  </a:extLst>
                </p:cNvPr>
                <p:cNvSpPr/>
                <p:nvPr/>
              </p:nvSpPr>
              <p:spPr>
                <a:xfrm>
                  <a:off x="5649461" y="5620779"/>
                  <a:ext cx="5936" cy="7105"/>
                </a:xfrm>
                <a:custGeom>
                  <a:avLst/>
                  <a:gdLst>
                    <a:gd name="connsiteX0" fmla="*/ 11972 w 57506"/>
                    <a:gd name="connsiteY0" fmla="*/ 0 h 68835"/>
                    <a:gd name="connsiteX1" fmla="*/ 0 w 57506"/>
                    <a:gd name="connsiteY1" fmla="*/ 38052 h 68835"/>
                    <a:gd name="connsiteX2" fmla="*/ 11972 w 57506"/>
                    <a:gd name="connsiteY2" fmla="*/ 68836 h 68835"/>
                    <a:gd name="connsiteX3" fmla="*/ 57506 w 57506"/>
                    <a:gd name="connsiteY3" fmla="*/ 37411 h 68835"/>
                    <a:gd name="connsiteX4" fmla="*/ 39549 w 57506"/>
                    <a:gd name="connsiteY4" fmla="*/ 5986 h 68835"/>
                    <a:gd name="connsiteX5" fmla="*/ 11972 w 57506"/>
                    <a:gd name="connsiteY5" fmla="*/ 0 h 6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06" h="68835">
                      <a:moveTo>
                        <a:pt x="11972" y="0"/>
                      </a:moveTo>
                      <a:cubicBezTo>
                        <a:pt x="11972" y="0"/>
                        <a:pt x="0" y="24157"/>
                        <a:pt x="0" y="38052"/>
                      </a:cubicBezTo>
                      <a:cubicBezTo>
                        <a:pt x="0" y="51734"/>
                        <a:pt x="11972" y="68836"/>
                        <a:pt x="11972" y="68836"/>
                      </a:cubicBezTo>
                      <a:lnTo>
                        <a:pt x="57506" y="37411"/>
                      </a:lnTo>
                      <a:cubicBezTo>
                        <a:pt x="57506" y="37411"/>
                        <a:pt x="54086" y="10903"/>
                        <a:pt x="39549" y="5986"/>
                      </a:cubicBezTo>
                      <a:cubicBezTo>
                        <a:pt x="24798" y="1283"/>
                        <a:pt x="11972" y="0"/>
                        <a:pt x="11972" y="0"/>
                      </a:cubicBez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09" name="Graphic 2">
                  <a:extLst>
                    <a:ext uri="{FF2B5EF4-FFF2-40B4-BE49-F238E27FC236}">
                      <a16:creationId xmlns:a16="http://schemas.microsoft.com/office/drawing/2014/main" id="{85AFD871-F28A-4D51-83CE-378BDA8CABB3}"/>
                    </a:ext>
                  </a:extLst>
                </p:cNvPr>
                <p:cNvSpPr/>
                <p:nvPr/>
              </p:nvSpPr>
              <p:spPr>
                <a:xfrm>
                  <a:off x="5595136" y="5624337"/>
                  <a:ext cx="30208" cy="30270"/>
                </a:xfrm>
                <a:custGeom>
                  <a:avLst/>
                  <a:gdLst>
                    <a:gd name="connsiteX0" fmla="*/ 292660 w 292659"/>
                    <a:gd name="connsiteY0" fmla="*/ 235536 h 293255"/>
                    <a:gd name="connsiteX1" fmla="*/ 266579 w 292659"/>
                    <a:gd name="connsiteY1" fmla="*/ 292400 h 293255"/>
                    <a:gd name="connsiteX2" fmla="*/ 220617 w 292659"/>
                    <a:gd name="connsiteY2" fmla="*/ 293255 h 293255"/>
                    <a:gd name="connsiteX3" fmla="*/ 165891 w 292659"/>
                    <a:gd name="connsiteY3" fmla="*/ 289407 h 293255"/>
                    <a:gd name="connsiteX4" fmla="*/ 74180 w 292659"/>
                    <a:gd name="connsiteY4" fmla="*/ 244300 h 293255"/>
                    <a:gd name="connsiteX5" fmla="*/ 0 w 292659"/>
                    <a:gd name="connsiteY5" fmla="*/ 210737 h 293255"/>
                    <a:gd name="connsiteX6" fmla="*/ 13681 w 292659"/>
                    <a:gd name="connsiteY6" fmla="*/ 63018 h 293255"/>
                    <a:gd name="connsiteX7" fmla="*/ 16247 w 292659"/>
                    <a:gd name="connsiteY7" fmla="*/ 36296 h 293255"/>
                    <a:gd name="connsiteX8" fmla="*/ 19240 w 292659"/>
                    <a:gd name="connsiteY8" fmla="*/ 4657 h 293255"/>
                    <a:gd name="connsiteX9" fmla="*/ 19240 w 292659"/>
                    <a:gd name="connsiteY9" fmla="*/ 4657 h 293255"/>
                    <a:gd name="connsiteX10" fmla="*/ 91282 w 292659"/>
                    <a:gd name="connsiteY10" fmla="*/ 4657 h 293255"/>
                    <a:gd name="connsiteX11" fmla="*/ 276840 w 292659"/>
                    <a:gd name="connsiteY11" fmla="*/ 49764 h 293255"/>
                    <a:gd name="connsiteX12" fmla="*/ 284964 w 292659"/>
                    <a:gd name="connsiteY12" fmla="*/ 92733 h 293255"/>
                    <a:gd name="connsiteX13" fmla="*/ 284964 w 292659"/>
                    <a:gd name="connsiteY13" fmla="*/ 93374 h 293255"/>
                    <a:gd name="connsiteX14" fmla="*/ 287315 w 292659"/>
                    <a:gd name="connsiteY14" fmla="*/ 120951 h 293255"/>
                    <a:gd name="connsiteX15" fmla="*/ 287315 w 292659"/>
                    <a:gd name="connsiteY15" fmla="*/ 122448 h 293255"/>
                    <a:gd name="connsiteX16" fmla="*/ 292660 w 292659"/>
                    <a:gd name="connsiteY16" fmla="*/ 235536 h 29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659" h="293255">
                      <a:moveTo>
                        <a:pt x="292660" y="235536"/>
                      </a:moveTo>
                      <a:lnTo>
                        <a:pt x="266579" y="292400"/>
                      </a:lnTo>
                      <a:cubicBezTo>
                        <a:pt x="266579" y="292400"/>
                        <a:pt x="244560" y="293255"/>
                        <a:pt x="220617" y="293255"/>
                      </a:cubicBezTo>
                      <a:cubicBezTo>
                        <a:pt x="199239" y="293255"/>
                        <a:pt x="176365" y="292400"/>
                        <a:pt x="165891" y="289407"/>
                      </a:cubicBezTo>
                      <a:cubicBezTo>
                        <a:pt x="144085" y="283208"/>
                        <a:pt x="74180" y="244300"/>
                        <a:pt x="74180" y="244300"/>
                      </a:cubicBezTo>
                      <a:lnTo>
                        <a:pt x="0" y="210737"/>
                      </a:lnTo>
                      <a:lnTo>
                        <a:pt x="13681" y="63018"/>
                      </a:lnTo>
                      <a:lnTo>
                        <a:pt x="16247" y="36296"/>
                      </a:lnTo>
                      <a:lnTo>
                        <a:pt x="19240" y="4657"/>
                      </a:lnTo>
                      <a:lnTo>
                        <a:pt x="19240" y="4657"/>
                      </a:lnTo>
                      <a:cubicBezTo>
                        <a:pt x="20950" y="4230"/>
                        <a:pt x="62423" y="-5604"/>
                        <a:pt x="91282" y="4657"/>
                      </a:cubicBezTo>
                      <a:cubicBezTo>
                        <a:pt x="91282" y="4657"/>
                        <a:pt x="265724" y="39716"/>
                        <a:pt x="276840" y="49764"/>
                      </a:cubicBezTo>
                      <a:cubicBezTo>
                        <a:pt x="280047" y="52757"/>
                        <a:pt x="282826" y="69859"/>
                        <a:pt x="284964" y="92733"/>
                      </a:cubicBezTo>
                      <a:lnTo>
                        <a:pt x="284964" y="93374"/>
                      </a:lnTo>
                      <a:cubicBezTo>
                        <a:pt x="285819" y="101925"/>
                        <a:pt x="286460" y="111331"/>
                        <a:pt x="287315" y="120951"/>
                      </a:cubicBezTo>
                      <a:lnTo>
                        <a:pt x="287315" y="122448"/>
                      </a:lnTo>
                      <a:cubicBezTo>
                        <a:pt x="290950" y="174823"/>
                        <a:pt x="292660" y="235536"/>
                        <a:pt x="292660" y="235536"/>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0" name="Graphic 2">
                  <a:extLst>
                    <a:ext uri="{FF2B5EF4-FFF2-40B4-BE49-F238E27FC236}">
                      <a16:creationId xmlns:a16="http://schemas.microsoft.com/office/drawing/2014/main" id="{D4558FA5-D0A3-4C77-9CFF-CF01E1A1D537}"/>
                    </a:ext>
                  </a:extLst>
                </p:cNvPr>
                <p:cNvSpPr/>
                <p:nvPr/>
              </p:nvSpPr>
              <p:spPr>
                <a:xfrm>
                  <a:off x="5604558" y="5614843"/>
                  <a:ext cx="18094" cy="14188"/>
                </a:xfrm>
                <a:custGeom>
                  <a:avLst/>
                  <a:gdLst>
                    <a:gd name="connsiteX0" fmla="*/ 175297 w 175296"/>
                    <a:gd name="connsiteY0" fmla="*/ 51092 h 137457"/>
                    <a:gd name="connsiteX1" fmla="*/ 175297 w 175296"/>
                    <a:gd name="connsiteY1" fmla="*/ 137458 h 137457"/>
                    <a:gd name="connsiteX2" fmla="*/ 0 w 175296"/>
                    <a:gd name="connsiteY2" fmla="*/ 96840 h 137457"/>
                    <a:gd name="connsiteX3" fmla="*/ 0 w 175296"/>
                    <a:gd name="connsiteY3" fmla="*/ 0 h 137457"/>
                  </a:gdLst>
                  <a:ahLst/>
                  <a:cxnLst>
                    <a:cxn ang="0">
                      <a:pos x="connsiteX0" y="connsiteY0"/>
                    </a:cxn>
                    <a:cxn ang="0">
                      <a:pos x="connsiteX1" y="connsiteY1"/>
                    </a:cxn>
                    <a:cxn ang="0">
                      <a:pos x="connsiteX2" y="connsiteY2"/>
                    </a:cxn>
                    <a:cxn ang="0">
                      <a:pos x="connsiteX3" y="connsiteY3"/>
                    </a:cxn>
                  </a:cxnLst>
                  <a:rect l="l" t="t" r="r" b="b"/>
                  <a:pathLst>
                    <a:path w="175296" h="137457">
                      <a:moveTo>
                        <a:pt x="175297" y="51092"/>
                      </a:moveTo>
                      <a:lnTo>
                        <a:pt x="175297" y="137458"/>
                      </a:lnTo>
                      <a:lnTo>
                        <a:pt x="0" y="96840"/>
                      </a:lnTo>
                      <a:lnTo>
                        <a:pt x="0"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1" name="Graphic 2">
                  <a:extLst>
                    <a:ext uri="{FF2B5EF4-FFF2-40B4-BE49-F238E27FC236}">
                      <a16:creationId xmlns:a16="http://schemas.microsoft.com/office/drawing/2014/main" id="{479056B4-C569-436D-8909-A5A7320750D6}"/>
                    </a:ext>
                  </a:extLst>
                </p:cNvPr>
                <p:cNvSpPr/>
                <p:nvPr/>
              </p:nvSpPr>
              <p:spPr>
                <a:xfrm>
                  <a:off x="5626271" y="5617822"/>
                  <a:ext cx="18689" cy="7789"/>
                </a:xfrm>
                <a:custGeom>
                  <a:avLst/>
                  <a:gdLst>
                    <a:gd name="connsiteX0" fmla="*/ 181068 w 181068"/>
                    <a:gd name="connsiteY0" fmla="*/ 0 h 75462"/>
                    <a:gd name="connsiteX1" fmla="*/ 3634 w 181068"/>
                    <a:gd name="connsiteY1" fmla="*/ 22233 h 75462"/>
                    <a:gd name="connsiteX2" fmla="*/ 0 w 181068"/>
                    <a:gd name="connsiteY2" fmla="*/ 75463 h 75462"/>
                    <a:gd name="connsiteX3" fmla="*/ 18598 w 181068"/>
                    <a:gd name="connsiteY3" fmla="*/ 62423 h 75462"/>
                    <a:gd name="connsiteX4" fmla="*/ 181068 w 181068"/>
                    <a:gd name="connsiteY4" fmla="*/ 67980 h 75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068" h="75462">
                      <a:moveTo>
                        <a:pt x="181068" y="0"/>
                      </a:moveTo>
                      <a:lnTo>
                        <a:pt x="3634" y="22233"/>
                      </a:lnTo>
                      <a:lnTo>
                        <a:pt x="0" y="75463"/>
                      </a:lnTo>
                      <a:lnTo>
                        <a:pt x="18598" y="62423"/>
                      </a:lnTo>
                      <a:lnTo>
                        <a:pt x="181068" y="6798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2" name="Graphic 2">
                  <a:extLst>
                    <a:ext uri="{FF2B5EF4-FFF2-40B4-BE49-F238E27FC236}">
                      <a16:creationId xmlns:a16="http://schemas.microsoft.com/office/drawing/2014/main" id="{DB43FF53-2C40-4016-A4FE-9212DE03EF22}"/>
                    </a:ext>
                  </a:extLst>
                </p:cNvPr>
                <p:cNvSpPr/>
                <p:nvPr/>
              </p:nvSpPr>
              <p:spPr>
                <a:xfrm>
                  <a:off x="5622652" y="5613365"/>
                  <a:ext cx="3994" cy="16549"/>
                </a:xfrm>
                <a:custGeom>
                  <a:avLst/>
                  <a:gdLst>
                    <a:gd name="connsiteX0" fmla="*/ 0 w 38693"/>
                    <a:gd name="connsiteY0" fmla="*/ 0 h 160332"/>
                    <a:gd name="connsiteX1" fmla="*/ 38694 w 38693"/>
                    <a:gd name="connsiteY1" fmla="*/ 0 h 160332"/>
                    <a:gd name="connsiteX2" fmla="*/ 35060 w 38693"/>
                    <a:gd name="connsiteY2" fmla="*/ 90000 h 160332"/>
                    <a:gd name="connsiteX3" fmla="*/ 12399 w 38693"/>
                    <a:gd name="connsiteY3" fmla="*/ 160332 h 160332"/>
                    <a:gd name="connsiteX4" fmla="*/ 0 w 38693"/>
                    <a:gd name="connsiteY4" fmla="*/ 146009 h 160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93" h="160332">
                      <a:moveTo>
                        <a:pt x="0" y="0"/>
                      </a:moveTo>
                      <a:lnTo>
                        <a:pt x="38694" y="0"/>
                      </a:lnTo>
                      <a:lnTo>
                        <a:pt x="35060" y="90000"/>
                      </a:lnTo>
                      <a:lnTo>
                        <a:pt x="12399" y="160332"/>
                      </a:lnTo>
                      <a:lnTo>
                        <a:pt x="0" y="146009"/>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3" name="Graphic 2">
                  <a:extLst>
                    <a:ext uri="{FF2B5EF4-FFF2-40B4-BE49-F238E27FC236}">
                      <a16:creationId xmlns:a16="http://schemas.microsoft.com/office/drawing/2014/main" id="{F2BE41C8-448C-4908-BACD-8A39721A88D6}"/>
                    </a:ext>
                  </a:extLst>
                </p:cNvPr>
                <p:cNvSpPr/>
                <p:nvPr/>
              </p:nvSpPr>
              <p:spPr>
                <a:xfrm>
                  <a:off x="5607890" y="5607628"/>
                  <a:ext cx="15821" cy="6752"/>
                </a:xfrm>
                <a:custGeom>
                  <a:avLst/>
                  <a:gdLst>
                    <a:gd name="connsiteX0" fmla="*/ 153278 w 153277"/>
                    <a:gd name="connsiteY0" fmla="*/ 44252 h 65415"/>
                    <a:gd name="connsiteX1" fmla="*/ 153278 w 153277"/>
                    <a:gd name="connsiteY1" fmla="*/ 65416 h 65415"/>
                    <a:gd name="connsiteX2" fmla="*/ 0 w 153277"/>
                    <a:gd name="connsiteY2" fmla="*/ 18599 h 65415"/>
                    <a:gd name="connsiteX3" fmla="*/ 4703 w 153277"/>
                    <a:gd name="connsiteY3" fmla="*/ 0 h 65415"/>
                  </a:gdLst>
                  <a:ahLst/>
                  <a:cxnLst>
                    <a:cxn ang="0">
                      <a:pos x="connsiteX0" y="connsiteY0"/>
                    </a:cxn>
                    <a:cxn ang="0">
                      <a:pos x="connsiteX1" y="connsiteY1"/>
                    </a:cxn>
                    <a:cxn ang="0">
                      <a:pos x="connsiteX2" y="connsiteY2"/>
                    </a:cxn>
                    <a:cxn ang="0">
                      <a:pos x="connsiteX3" y="connsiteY3"/>
                    </a:cxn>
                  </a:cxnLst>
                  <a:rect l="l" t="t" r="r" b="b"/>
                  <a:pathLst>
                    <a:path w="153277" h="65415">
                      <a:moveTo>
                        <a:pt x="153278" y="44252"/>
                      </a:moveTo>
                      <a:lnTo>
                        <a:pt x="153278" y="65416"/>
                      </a:lnTo>
                      <a:lnTo>
                        <a:pt x="0" y="18599"/>
                      </a:lnTo>
                      <a:lnTo>
                        <a:pt x="4703"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4" name="Graphic 2">
                  <a:extLst>
                    <a:ext uri="{FF2B5EF4-FFF2-40B4-BE49-F238E27FC236}">
                      <a16:creationId xmlns:a16="http://schemas.microsoft.com/office/drawing/2014/main" id="{B225278A-E515-4ADD-A9A5-B35B8A656A9F}"/>
                    </a:ext>
                  </a:extLst>
                </p:cNvPr>
                <p:cNvSpPr/>
                <p:nvPr/>
              </p:nvSpPr>
              <p:spPr>
                <a:xfrm>
                  <a:off x="5623711" y="5611842"/>
                  <a:ext cx="18491" cy="2538"/>
                </a:xfrm>
                <a:custGeom>
                  <a:avLst/>
                  <a:gdLst>
                    <a:gd name="connsiteX0" fmla="*/ 179145 w 179144"/>
                    <a:gd name="connsiteY0" fmla="*/ 17744 h 24584"/>
                    <a:gd name="connsiteX1" fmla="*/ 0 w 179144"/>
                    <a:gd name="connsiteY1" fmla="*/ 24584 h 24584"/>
                    <a:gd name="connsiteX2" fmla="*/ 0 w 179144"/>
                    <a:gd name="connsiteY2" fmla="*/ 3421 h 24584"/>
                    <a:gd name="connsiteX3" fmla="*/ 175297 w 179144"/>
                    <a:gd name="connsiteY3" fmla="*/ 0 h 24584"/>
                  </a:gdLst>
                  <a:ahLst/>
                  <a:cxnLst>
                    <a:cxn ang="0">
                      <a:pos x="connsiteX0" y="connsiteY0"/>
                    </a:cxn>
                    <a:cxn ang="0">
                      <a:pos x="connsiteX1" y="connsiteY1"/>
                    </a:cxn>
                    <a:cxn ang="0">
                      <a:pos x="connsiteX2" y="connsiteY2"/>
                    </a:cxn>
                    <a:cxn ang="0">
                      <a:pos x="connsiteX3" y="connsiteY3"/>
                    </a:cxn>
                  </a:cxnLst>
                  <a:rect l="l" t="t" r="r" b="b"/>
                  <a:pathLst>
                    <a:path w="179144" h="24584">
                      <a:moveTo>
                        <a:pt x="179145" y="17744"/>
                      </a:moveTo>
                      <a:lnTo>
                        <a:pt x="0" y="24584"/>
                      </a:lnTo>
                      <a:lnTo>
                        <a:pt x="0" y="3421"/>
                      </a:lnTo>
                      <a:lnTo>
                        <a:pt x="175297" y="0"/>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5" name="Graphic 2">
                  <a:extLst>
                    <a:ext uri="{FF2B5EF4-FFF2-40B4-BE49-F238E27FC236}">
                      <a16:creationId xmlns:a16="http://schemas.microsoft.com/office/drawing/2014/main" id="{BBACF8FC-4EF8-4786-A402-A487CFC70E1B}"/>
                    </a:ext>
                  </a:extLst>
                </p:cNvPr>
                <p:cNvSpPr/>
                <p:nvPr/>
              </p:nvSpPr>
              <p:spPr>
                <a:xfrm>
                  <a:off x="5597122" y="5624381"/>
                  <a:ext cx="28222" cy="30226"/>
                </a:xfrm>
                <a:custGeom>
                  <a:avLst/>
                  <a:gdLst>
                    <a:gd name="connsiteX0" fmla="*/ 273420 w 273419"/>
                    <a:gd name="connsiteY0" fmla="*/ 235108 h 292827"/>
                    <a:gd name="connsiteX1" fmla="*/ 247339 w 273419"/>
                    <a:gd name="connsiteY1" fmla="*/ 291972 h 292827"/>
                    <a:gd name="connsiteX2" fmla="*/ 201377 w 273419"/>
                    <a:gd name="connsiteY2" fmla="*/ 292828 h 292827"/>
                    <a:gd name="connsiteX3" fmla="*/ 187482 w 273419"/>
                    <a:gd name="connsiteY3" fmla="*/ 65583 h 292827"/>
                    <a:gd name="connsiteX4" fmla="*/ 0 w 273419"/>
                    <a:gd name="connsiteY4" fmla="*/ 4657 h 292827"/>
                    <a:gd name="connsiteX5" fmla="*/ 0 w 273419"/>
                    <a:gd name="connsiteY5" fmla="*/ 4657 h 292827"/>
                    <a:gd name="connsiteX6" fmla="*/ 72043 w 273419"/>
                    <a:gd name="connsiteY6" fmla="*/ 4657 h 292827"/>
                    <a:gd name="connsiteX7" fmla="*/ 257600 w 273419"/>
                    <a:gd name="connsiteY7" fmla="*/ 49764 h 292827"/>
                    <a:gd name="connsiteX8" fmla="*/ 273420 w 273419"/>
                    <a:gd name="connsiteY8" fmla="*/ 235108 h 29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419" h="292827">
                      <a:moveTo>
                        <a:pt x="273420" y="235108"/>
                      </a:moveTo>
                      <a:lnTo>
                        <a:pt x="247339" y="291972"/>
                      </a:lnTo>
                      <a:cubicBezTo>
                        <a:pt x="247339" y="291972"/>
                        <a:pt x="225320" y="292828"/>
                        <a:pt x="201377" y="292828"/>
                      </a:cubicBezTo>
                      <a:cubicBezTo>
                        <a:pt x="201377" y="292828"/>
                        <a:pt x="188765" y="75417"/>
                        <a:pt x="187482" y="65583"/>
                      </a:cubicBezTo>
                      <a:cubicBezTo>
                        <a:pt x="186199" y="55749"/>
                        <a:pt x="0" y="4657"/>
                        <a:pt x="0" y="4657"/>
                      </a:cubicBezTo>
                      <a:lnTo>
                        <a:pt x="0" y="4657"/>
                      </a:lnTo>
                      <a:cubicBezTo>
                        <a:pt x="1710" y="4230"/>
                        <a:pt x="43183" y="-5604"/>
                        <a:pt x="72043" y="4657"/>
                      </a:cubicBezTo>
                      <a:cubicBezTo>
                        <a:pt x="72043" y="4657"/>
                        <a:pt x="246484" y="39716"/>
                        <a:pt x="257600" y="49764"/>
                      </a:cubicBezTo>
                      <a:cubicBezTo>
                        <a:pt x="268717" y="59597"/>
                        <a:pt x="273420" y="235108"/>
                        <a:pt x="273420" y="235108"/>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6" name="Graphic 2">
                  <a:extLst>
                    <a:ext uri="{FF2B5EF4-FFF2-40B4-BE49-F238E27FC236}">
                      <a16:creationId xmlns:a16="http://schemas.microsoft.com/office/drawing/2014/main" id="{3B8A46E7-E47A-4817-97B8-AE7085D43400}"/>
                    </a:ext>
                  </a:extLst>
                </p:cNvPr>
                <p:cNvSpPr/>
                <p:nvPr/>
              </p:nvSpPr>
              <p:spPr>
                <a:xfrm>
                  <a:off x="5622630" y="5648649"/>
                  <a:ext cx="16439" cy="22287"/>
                </a:xfrm>
                <a:custGeom>
                  <a:avLst/>
                  <a:gdLst>
                    <a:gd name="connsiteX0" fmla="*/ 159263 w 159263"/>
                    <a:gd name="connsiteY0" fmla="*/ 215914 h 215914"/>
                    <a:gd name="connsiteX1" fmla="*/ 159263 w 159263"/>
                    <a:gd name="connsiteY1" fmla="*/ 215914 h 215914"/>
                    <a:gd name="connsiteX2" fmla="*/ 121853 w 159263"/>
                    <a:gd name="connsiteY2" fmla="*/ 195819 h 215914"/>
                    <a:gd name="connsiteX3" fmla="*/ 113302 w 159263"/>
                    <a:gd name="connsiteY3" fmla="*/ 183206 h 215914"/>
                    <a:gd name="connsiteX4" fmla="*/ 70118 w 159263"/>
                    <a:gd name="connsiteY4" fmla="*/ 157767 h 215914"/>
                    <a:gd name="connsiteX5" fmla="*/ 47672 w 159263"/>
                    <a:gd name="connsiteY5" fmla="*/ 155843 h 215914"/>
                    <a:gd name="connsiteX6" fmla="*/ 855 w 159263"/>
                    <a:gd name="connsiteY6" fmla="*/ 84228 h 215914"/>
                    <a:gd name="connsiteX7" fmla="*/ 855 w 159263"/>
                    <a:gd name="connsiteY7" fmla="*/ 23515 h 215914"/>
                    <a:gd name="connsiteX8" fmla="*/ 26294 w 159263"/>
                    <a:gd name="connsiteY8" fmla="*/ 0 h 215914"/>
                    <a:gd name="connsiteX9" fmla="*/ 132541 w 159263"/>
                    <a:gd name="connsiteY9" fmla="*/ 79952 h 215914"/>
                    <a:gd name="connsiteX10" fmla="*/ 142161 w 159263"/>
                    <a:gd name="connsiteY10" fmla="*/ 94489 h 215914"/>
                    <a:gd name="connsiteX11" fmla="*/ 159263 w 159263"/>
                    <a:gd name="connsiteY11" fmla="*/ 215914 h 21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263" h="215914">
                      <a:moveTo>
                        <a:pt x="159263" y="215914"/>
                      </a:moveTo>
                      <a:lnTo>
                        <a:pt x="159263" y="215914"/>
                      </a:lnTo>
                      <a:cubicBezTo>
                        <a:pt x="144299" y="215914"/>
                        <a:pt x="130190" y="208432"/>
                        <a:pt x="121853" y="195819"/>
                      </a:cubicBezTo>
                      <a:lnTo>
                        <a:pt x="113302" y="183206"/>
                      </a:lnTo>
                      <a:cubicBezTo>
                        <a:pt x="103468" y="168669"/>
                        <a:pt x="87648" y="159263"/>
                        <a:pt x="70118" y="157767"/>
                      </a:cubicBezTo>
                      <a:lnTo>
                        <a:pt x="47672" y="155843"/>
                      </a:lnTo>
                      <a:lnTo>
                        <a:pt x="855" y="84228"/>
                      </a:lnTo>
                      <a:cubicBezTo>
                        <a:pt x="855" y="84228"/>
                        <a:pt x="-1069" y="34846"/>
                        <a:pt x="855" y="23515"/>
                      </a:cubicBezTo>
                      <a:cubicBezTo>
                        <a:pt x="2779" y="12185"/>
                        <a:pt x="26294" y="0"/>
                        <a:pt x="26294" y="0"/>
                      </a:cubicBezTo>
                      <a:cubicBezTo>
                        <a:pt x="34632" y="21164"/>
                        <a:pt x="107529" y="65415"/>
                        <a:pt x="132541" y="79952"/>
                      </a:cubicBezTo>
                      <a:cubicBezTo>
                        <a:pt x="137886" y="82945"/>
                        <a:pt x="141306" y="88290"/>
                        <a:pt x="142161" y="94489"/>
                      </a:cubicBezTo>
                      <a:lnTo>
                        <a:pt x="159263" y="215914"/>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7" name="Graphic 2">
                  <a:extLst>
                    <a:ext uri="{FF2B5EF4-FFF2-40B4-BE49-F238E27FC236}">
                      <a16:creationId xmlns:a16="http://schemas.microsoft.com/office/drawing/2014/main" id="{3BF8326B-C8A8-4664-AD20-92F71C723DC4}"/>
                    </a:ext>
                  </a:extLst>
                </p:cNvPr>
                <p:cNvSpPr/>
                <p:nvPr/>
              </p:nvSpPr>
              <p:spPr>
                <a:xfrm>
                  <a:off x="5693769" y="5634659"/>
                  <a:ext cx="6046" cy="13924"/>
                </a:xfrm>
                <a:custGeom>
                  <a:avLst/>
                  <a:gdLst>
                    <a:gd name="connsiteX0" fmla="*/ 58575 w 58574"/>
                    <a:gd name="connsiteY0" fmla="*/ 134893 h 134893"/>
                    <a:gd name="connsiteX1" fmla="*/ 16033 w 58574"/>
                    <a:gd name="connsiteY1" fmla="*/ 134893 h 134893"/>
                    <a:gd name="connsiteX2" fmla="*/ 7482 w 58574"/>
                    <a:gd name="connsiteY2" fmla="*/ 62637 h 134893"/>
                    <a:gd name="connsiteX3" fmla="*/ 0 w 58574"/>
                    <a:gd name="connsiteY3" fmla="*/ 0 h 134893"/>
                    <a:gd name="connsiteX4" fmla="*/ 39335 w 58574"/>
                    <a:gd name="connsiteY4" fmla="*/ 2138 h 134893"/>
                    <a:gd name="connsiteX5" fmla="*/ 43397 w 58574"/>
                    <a:gd name="connsiteY5" fmla="*/ 30357 h 134893"/>
                    <a:gd name="connsiteX6" fmla="*/ 45534 w 58574"/>
                    <a:gd name="connsiteY6" fmla="*/ 45321 h 134893"/>
                    <a:gd name="connsiteX7" fmla="*/ 56437 w 58574"/>
                    <a:gd name="connsiteY7" fmla="*/ 119715 h 134893"/>
                    <a:gd name="connsiteX8" fmla="*/ 58575 w 58574"/>
                    <a:gd name="connsiteY8" fmla="*/ 134893 h 13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574" h="134893">
                      <a:moveTo>
                        <a:pt x="58575" y="134893"/>
                      </a:moveTo>
                      <a:lnTo>
                        <a:pt x="16033" y="134893"/>
                      </a:lnTo>
                      <a:lnTo>
                        <a:pt x="7482" y="62637"/>
                      </a:lnTo>
                      <a:lnTo>
                        <a:pt x="0" y="0"/>
                      </a:lnTo>
                      <a:cubicBezTo>
                        <a:pt x="14537" y="1924"/>
                        <a:pt x="28005" y="2993"/>
                        <a:pt x="39335" y="2138"/>
                      </a:cubicBezTo>
                      <a:lnTo>
                        <a:pt x="43397" y="30357"/>
                      </a:lnTo>
                      <a:lnTo>
                        <a:pt x="45534" y="45321"/>
                      </a:lnTo>
                      <a:lnTo>
                        <a:pt x="56437" y="119715"/>
                      </a:lnTo>
                      <a:lnTo>
                        <a:pt x="58575" y="134893"/>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8" name="Graphic 2">
                  <a:extLst>
                    <a:ext uri="{FF2B5EF4-FFF2-40B4-BE49-F238E27FC236}">
                      <a16:creationId xmlns:a16="http://schemas.microsoft.com/office/drawing/2014/main" id="{2E26C8F7-2C72-4D6F-A2D6-4C9F07EF44A9}"/>
                    </a:ext>
                  </a:extLst>
                </p:cNvPr>
                <p:cNvSpPr/>
                <p:nvPr/>
              </p:nvSpPr>
              <p:spPr>
                <a:xfrm>
                  <a:off x="5596548" y="5628105"/>
                  <a:ext cx="28244" cy="10636"/>
                </a:xfrm>
                <a:custGeom>
                  <a:avLst/>
                  <a:gdLst>
                    <a:gd name="connsiteX0" fmla="*/ 273634 w 273633"/>
                    <a:gd name="connsiteY0" fmla="*/ 86152 h 103040"/>
                    <a:gd name="connsiteX1" fmla="*/ 197743 w 273633"/>
                    <a:gd name="connsiteY1" fmla="*/ 103040 h 103040"/>
                    <a:gd name="connsiteX2" fmla="*/ 0 w 273633"/>
                    <a:gd name="connsiteY2" fmla="*/ 26722 h 103040"/>
                    <a:gd name="connsiteX3" fmla="*/ 2352 w 273633"/>
                    <a:gd name="connsiteY3" fmla="*/ 0 h 103040"/>
                    <a:gd name="connsiteX4" fmla="*/ 195605 w 273633"/>
                    <a:gd name="connsiteY4" fmla="*/ 69050 h 103040"/>
                    <a:gd name="connsiteX5" fmla="*/ 271282 w 273633"/>
                    <a:gd name="connsiteY5" fmla="*/ 56651 h 103040"/>
                    <a:gd name="connsiteX6" fmla="*/ 271282 w 273633"/>
                    <a:gd name="connsiteY6" fmla="*/ 57292 h 103040"/>
                    <a:gd name="connsiteX7" fmla="*/ 273634 w 273633"/>
                    <a:gd name="connsiteY7" fmla="*/ 84869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633" h="103040">
                      <a:moveTo>
                        <a:pt x="273634" y="86152"/>
                      </a:moveTo>
                      <a:lnTo>
                        <a:pt x="197743" y="103040"/>
                      </a:lnTo>
                      <a:lnTo>
                        <a:pt x="0" y="26722"/>
                      </a:lnTo>
                      <a:lnTo>
                        <a:pt x="2352" y="0"/>
                      </a:lnTo>
                      <a:lnTo>
                        <a:pt x="195605" y="69050"/>
                      </a:lnTo>
                      <a:lnTo>
                        <a:pt x="271282" y="56651"/>
                      </a:lnTo>
                      <a:lnTo>
                        <a:pt x="271282" y="57292"/>
                      </a:lnTo>
                      <a:lnTo>
                        <a:pt x="273634" y="84869"/>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19" name="Graphic 2">
                  <a:extLst>
                    <a:ext uri="{FF2B5EF4-FFF2-40B4-BE49-F238E27FC236}">
                      <a16:creationId xmlns:a16="http://schemas.microsoft.com/office/drawing/2014/main" id="{652D4DD9-38B9-48C7-9E47-95495C67A3BA}"/>
                    </a:ext>
                  </a:extLst>
                </p:cNvPr>
                <p:cNvSpPr/>
                <p:nvPr/>
              </p:nvSpPr>
              <p:spPr>
                <a:xfrm>
                  <a:off x="5595489" y="5639844"/>
                  <a:ext cx="29855" cy="10746"/>
                </a:xfrm>
                <a:custGeom>
                  <a:avLst/>
                  <a:gdLst>
                    <a:gd name="connsiteX0" fmla="*/ 289239 w 289238"/>
                    <a:gd name="connsiteY0" fmla="*/ 83373 h 104109"/>
                    <a:gd name="connsiteX1" fmla="*/ 214845 w 289238"/>
                    <a:gd name="connsiteY1" fmla="*/ 104109 h 104109"/>
                    <a:gd name="connsiteX2" fmla="*/ 0 w 289238"/>
                    <a:gd name="connsiteY2" fmla="*/ 23088 h 104109"/>
                    <a:gd name="connsiteX3" fmla="*/ 2138 w 289238"/>
                    <a:gd name="connsiteY3" fmla="*/ 0 h 104109"/>
                    <a:gd name="connsiteX4" fmla="*/ 213135 w 289238"/>
                    <a:gd name="connsiteY4" fmla="*/ 76532 h 104109"/>
                    <a:gd name="connsiteX5" fmla="*/ 288384 w 289238"/>
                    <a:gd name="connsiteY5" fmla="*/ 59857 h 1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238" h="104109">
                      <a:moveTo>
                        <a:pt x="289239" y="83373"/>
                      </a:moveTo>
                      <a:lnTo>
                        <a:pt x="214845" y="104109"/>
                      </a:lnTo>
                      <a:lnTo>
                        <a:pt x="0" y="23088"/>
                      </a:lnTo>
                      <a:lnTo>
                        <a:pt x="2138" y="0"/>
                      </a:lnTo>
                      <a:lnTo>
                        <a:pt x="213135" y="76532"/>
                      </a:lnTo>
                      <a:lnTo>
                        <a:pt x="288384" y="59857"/>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0" name="Graphic 2">
                  <a:extLst>
                    <a:ext uri="{FF2B5EF4-FFF2-40B4-BE49-F238E27FC236}">
                      <a16:creationId xmlns:a16="http://schemas.microsoft.com/office/drawing/2014/main" id="{DED0C2A5-101F-4224-ABC4-3F730D0CA71B}"/>
                    </a:ext>
                  </a:extLst>
                </p:cNvPr>
                <p:cNvSpPr/>
                <p:nvPr/>
              </p:nvSpPr>
              <p:spPr>
                <a:xfrm rot="17091035">
                  <a:off x="5666135" y="5659323"/>
                  <a:ext cx="31643" cy="22816"/>
                </a:xfrm>
                <a:custGeom>
                  <a:avLst/>
                  <a:gdLst>
                    <a:gd name="connsiteX0" fmla="*/ 306556 w 306556"/>
                    <a:gd name="connsiteY0" fmla="*/ 110523 h 221045"/>
                    <a:gd name="connsiteX1" fmla="*/ 153278 w 306556"/>
                    <a:gd name="connsiteY1" fmla="*/ 221045 h 221045"/>
                    <a:gd name="connsiteX2" fmla="*/ 0 w 306556"/>
                    <a:gd name="connsiteY2" fmla="*/ 110523 h 221045"/>
                    <a:gd name="connsiteX3" fmla="*/ 153278 w 306556"/>
                    <a:gd name="connsiteY3" fmla="*/ 0 h 221045"/>
                    <a:gd name="connsiteX4" fmla="*/ 306556 w 306556"/>
                    <a:gd name="connsiteY4" fmla="*/ 110523 h 221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56" h="221045">
                      <a:moveTo>
                        <a:pt x="306556" y="110523"/>
                      </a:moveTo>
                      <a:cubicBezTo>
                        <a:pt x="306556" y="171563"/>
                        <a:pt x="237931" y="221045"/>
                        <a:pt x="153278" y="221045"/>
                      </a:cubicBezTo>
                      <a:cubicBezTo>
                        <a:pt x="68625" y="221045"/>
                        <a:pt x="0" y="171562"/>
                        <a:pt x="0" y="110523"/>
                      </a:cubicBezTo>
                      <a:cubicBezTo>
                        <a:pt x="0" y="49482"/>
                        <a:pt x="68625" y="0"/>
                        <a:pt x="153278" y="0"/>
                      </a:cubicBezTo>
                      <a:cubicBezTo>
                        <a:pt x="237931" y="0"/>
                        <a:pt x="306556" y="49483"/>
                        <a:pt x="306556" y="110523"/>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1" name="Graphic 2">
                  <a:extLst>
                    <a:ext uri="{FF2B5EF4-FFF2-40B4-BE49-F238E27FC236}">
                      <a16:creationId xmlns:a16="http://schemas.microsoft.com/office/drawing/2014/main" id="{EC41471E-0173-47FA-BC67-C8F9A059891C}"/>
                    </a:ext>
                  </a:extLst>
                </p:cNvPr>
                <p:cNvSpPr/>
                <p:nvPr/>
              </p:nvSpPr>
              <p:spPr>
                <a:xfrm rot="17655656">
                  <a:off x="5672202" y="5665518"/>
                  <a:ext cx="14431" cy="10415"/>
                </a:xfrm>
                <a:custGeom>
                  <a:avLst/>
                  <a:gdLst>
                    <a:gd name="connsiteX0" fmla="*/ 139812 w 139812"/>
                    <a:gd name="connsiteY0" fmla="*/ 50452 h 100904"/>
                    <a:gd name="connsiteX1" fmla="*/ 69906 w 139812"/>
                    <a:gd name="connsiteY1" fmla="*/ 100904 h 100904"/>
                    <a:gd name="connsiteX2" fmla="*/ 0 w 139812"/>
                    <a:gd name="connsiteY2" fmla="*/ 50452 h 100904"/>
                    <a:gd name="connsiteX3" fmla="*/ 69906 w 139812"/>
                    <a:gd name="connsiteY3" fmla="*/ 0 h 100904"/>
                    <a:gd name="connsiteX4" fmla="*/ 139812 w 139812"/>
                    <a:gd name="connsiteY4" fmla="*/ 50452 h 100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812" h="100904">
                      <a:moveTo>
                        <a:pt x="139812" y="50452"/>
                      </a:moveTo>
                      <a:cubicBezTo>
                        <a:pt x="139812" y="78316"/>
                        <a:pt x="108514" y="100904"/>
                        <a:pt x="69906" y="100904"/>
                      </a:cubicBezTo>
                      <a:cubicBezTo>
                        <a:pt x="31298" y="100904"/>
                        <a:pt x="0" y="78316"/>
                        <a:pt x="0" y="50452"/>
                      </a:cubicBezTo>
                      <a:cubicBezTo>
                        <a:pt x="0" y="22588"/>
                        <a:pt x="31298" y="0"/>
                        <a:pt x="69906" y="0"/>
                      </a:cubicBezTo>
                      <a:cubicBezTo>
                        <a:pt x="108514" y="0"/>
                        <a:pt x="139812" y="22588"/>
                        <a:pt x="139812" y="50452"/>
                      </a:cubicBez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2" name="Graphic 2">
                  <a:extLst>
                    <a:ext uri="{FF2B5EF4-FFF2-40B4-BE49-F238E27FC236}">
                      <a16:creationId xmlns:a16="http://schemas.microsoft.com/office/drawing/2014/main" id="{545A9F92-C258-4172-8AE0-260B7811A355}"/>
                    </a:ext>
                  </a:extLst>
                </p:cNvPr>
                <p:cNvSpPr/>
                <p:nvPr/>
              </p:nvSpPr>
              <p:spPr>
                <a:xfrm>
                  <a:off x="5617246" y="5597455"/>
                  <a:ext cx="10658" cy="9731"/>
                </a:xfrm>
                <a:custGeom>
                  <a:avLst/>
                  <a:gdLst>
                    <a:gd name="connsiteX0" fmla="*/ 103254 w 103254"/>
                    <a:gd name="connsiteY0" fmla="*/ 94275 h 94275"/>
                    <a:gd name="connsiteX1" fmla="*/ 0 w 103254"/>
                    <a:gd name="connsiteY1" fmla="*/ 94275 h 94275"/>
                    <a:gd name="connsiteX2" fmla="*/ 0 w 103254"/>
                    <a:gd name="connsiteY2" fmla="*/ 51520 h 94275"/>
                    <a:gd name="connsiteX3" fmla="*/ 51520 w 103254"/>
                    <a:gd name="connsiteY3" fmla="*/ 0 h 94275"/>
                    <a:gd name="connsiteX4" fmla="*/ 51520 w 103254"/>
                    <a:gd name="connsiteY4" fmla="*/ 0 h 94275"/>
                    <a:gd name="connsiteX5" fmla="*/ 103040 w 103254"/>
                    <a:gd name="connsiteY5" fmla="*/ 51520 h 94275"/>
                    <a:gd name="connsiteX6" fmla="*/ 103040 w 103254"/>
                    <a:gd name="connsiteY6" fmla="*/ 94275 h 9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254" h="94275">
                      <a:moveTo>
                        <a:pt x="103254" y="94275"/>
                      </a:moveTo>
                      <a:lnTo>
                        <a:pt x="0" y="94275"/>
                      </a:lnTo>
                      <a:lnTo>
                        <a:pt x="0" y="51520"/>
                      </a:lnTo>
                      <a:cubicBezTo>
                        <a:pt x="0" y="23088"/>
                        <a:pt x="23088" y="0"/>
                        <a:pt x="51520" y="0"/>
                      </a:cubicBezTo>
                      <a:lnTo>
                        <a:pt x="51520" y="0"/>
                      </a:lnTo>
                      <a:cubicBezTo>
                        <a:pt x="79953" y="0"/>
                        <a:pt x="103040" y="23088"/>
                        <a:pt x="103040" y="51520"/>
                      </a:cubicBezTo>
                      <a:lnTo>
                        <a:pt x="103040" y="94275"/>
                      </a:lnTo>
                      <a:close/>
                    </a:path>
                  </a:pathLst>
                </a:custGeom>
                <a:solidFill>
                  <a:srgbClr val="D96930"/>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3" name="Graphic 2">
                  <a:extLst>
                    <a:ext uri="{FF2B5EF4-FFF2-40B4-BE49-F238E27FC236}">
                      <a16:creationId xmlns:a16="http://schemas.microsoft.com/office/drawing/2014/main" id="{596B8CA6-F920-4BBA-90C3-EB8640662BC9}"/>
                    </a:ext>
                  </a:extLst>
                </p:cNvPr>
                <p:cNvSpPr/>
                <p:nvPr/>
              </p:nvSpPr>
              <p:spPr>
                <a:xfrm>
                  <a:off x="5608861" y="5605620"/>
                  <a:ext cx="32569" cy="4524"/>
                </a:xfrm>
                <a:custGeom>
                  <a:avLst/>
                  <a:gdLst>
                    <a:gd name="connsiteX0" fmla="*/ 0 w 315534"/>
                    <a:gd name="connsiteY0" fmla="*/ 0 h 43824"/>
                    <a:gd name="connsiteX1" fmla="*/ 143872 w 315534"/>
                    <a:gd name="connsiteY1" fmla="*/ 42541 h 43824"/>
                    <a:gd name="connsiteX2" fmla="*/ 315534 w 315534"/>
                    <a:gd name="connsiteY2" fmla="*/ 43824 h 43824"/>
                    <a:gd name="connsiteX3" fmla="*/ 140665 w 315534"/>
                    <a:gd name="connsiteY3" fmla="*/ 0 h 43824"/>
                  </a:gdLst>
                  <a:ahLst/>
                  <a:cxnLst>
                    <a:cxn ang="0">
                      <a:pos x="connsiteX0" y="connsiteY0"/>
                    </a:cxn>
                    <a:cxn ang="0">
                      <a:pos x="connsiteX1" y="connsiteY1"/>
                    </a:cxn>
                    <a:cxn ang="0">
                      <a:pos x="connsiteX2" y="connsiteY2"/>
                    </a:cxn>
                    <a:cxn ang="0">
                      <a:pos x="connsiteX3" y="connsiteY3"/>
                    </a:cxn>
                  </a:cxnLst>
                  <a:rect l="l" t="t" r="r" b="b"/>
                  <a:pathLst>
                    <a:path w="315534" h="43824">
                      <a:moveTo>
                        <a:pt x="0" y="0"/>
                      </a:moveTo>
                      <a:lnTo>
                        <a:pt x="143872" y="42541"/>
                      </a:lnTo>
                      <a:lnTo>
                        <a:pt x="315534" y="43824"/>
                      </a:lnTo>
                      <a:lnTo>
                        <a:pt x="140665" y="0"/>
                      </a:ln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4" name="Graphic 2">
                  <a:extLst>
                    <a:ext uri="{FF2B5EF4-FFF2-40B4-BE49-F238E27FC236}">
                      <a16:creationId xmlns:a16="http://schemas.microsoft.com/office/drawing/2014/main" id="{8695B79B-BA25-4145-B589-FCED84A7F911}"/>
                    </a:ext>
                  </a:extLst>
                </p:cNvPr>
                <p:cNvSpPr/>
                <p:nvPr/>
              </p:nvSpPr>
              <p:spPr>
                <a:xfrm>
                  <a:off x="5626910" y="5573558"/>
                  <a:ext cx="5583" cy="34070"/>
                </a:xfrm>
                <a:custGeom>
                  <a:avLst/>
                  <a:gdLst>
                    <a:gd name="connsiteX0" fmla="*/ 38052 w 54085"/>
                    <a:gd name="connsiteY0" fmla="*/ 0 h 330070"/>
                    <a:gd name="connsiteX1" fmla="*/ 0 w 54085"/>
                    <a:gd name="connsiteY1" fmla="*/ 319168 h 330070"/>
                    <a:gd name="connsiteX2" fmla="*/ 38052 w 54085"/>
                    <a:gd name="connsiteY2" fmla="*/ 330070 h 330070"/>
                    <a:gd name="connsiteX3" fmla="*/ 54086 w 54085"/>
                    <a:gd name="connsiteY3" fmla="*/ 0 h 330070"/>
                  </a:gdLst>
                  <a:ahLst/>
                  <a:cxnLst>
                    <a:cxn ang="0">
                      <a:pos x="connsiteX0" y="connsiteY0"/>
                    </a:cxn>
                    <a:cxn ang="0">
                      <a:pos x="connsiteX1" y="connsiteY1"/>
                    </a:cxn>
                    <a:cxn ang="0">
                      <a:pos x="connsiteX2" y="connsiteY2"/>
                    </a:cxn>
                    <a:cxn ang="0">
                      <a:pos x="connsiteX3" y="connsiteY3"/>
                    </a:cxn>
                  </a:cxnLst>
                  <a:rect l="l" t="t" r="r" b="b"/>
                  <a:pathLst>
                    <a:path w="54085" h="330070">
                      <a:moveTo>
                        <a:pt x="38052" y="0"/>
                      </a:moveTo>
                      <a:lnTo>
                        <a:pt x="0" y="319168"/>
                      </a:lnTo>
                      <a:lnTo>
                        <a:pt x="38052" y="330070"/>
                      </a:lnTo>
                      <a:lnTo>
                        <a:pt x="54086" y="0"/>
                      </a:lnTo>
                      <a:close/>
                    </a:path>
                  </a:pathLst>
                </a:custGeom>
                <a:solidFill>
                  <a:srgbClr val="BABABA"/>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825" name="Graphic 2">
                  <a:extLst>
                    <a:ext uri="{FF2B5EF4-FFF2-40B4-BE49-F238E27FC236}">
                      <a16:creationId xmlns:a16="http://schemas.microsoft.com/office/drawing/2014/main" id="{E0A06DF8-48E9-439A-9461-F6865BEE0DB2}"/>
                    </a:ext>
                  </a:extLst>
                </p:cNvPr>
                <p:cNvSpPr/>
                <p:nvPr/>
              </p:nvSpPr>
              <p:spPr>
                <a:xfrm>
                  <a:off x="5671085" y="5635232"/>
                  <a:ext cx="8720" cy="38579"/>
                </a:xfrm>
                <a:custGeom>
                  <a:avLst/>
                  <a:gdLst>
                    <a:gd name="connsiteX0" fmla="*/ 33566 w 84485"/>
                    <a:gd name="connsiteY0" fmla="*/ 0 h 373754"/>
                    <a:gd name="connsiteX1" fmla="*/ 84231 w 84485"/>
                    <a:gd name="connsiteY1" fmla="*/ 346104 h 373754"/>
                    <a:gd name="connsiteX2" fmla="*/ 67129 w 84485"/>
                    <a:gd name="connsiteY2" fmla="*/ 373040 h 373754"/>
                    <a:gd name="connsiteX3" fmla="*/ 50454 w 84485"/>
                    <a:gd name="connsiteY3" fmla="*/ 370474 h 373754"/>
                    <a:gd name="connsiteX4" fmla="*/ 37628 w 84485"/>
                    <a:gd name="connsiteY4" fmla="*/ 349952 h 373754"/>
                    <a:gd name="connsiteX5" fmla="*/ 3 w 84485"/>
                    <a:gd name="connsiteY5" fmla="*/ 35059 h 373754"/>
                    <a:gd name="connsiteX6" fmla="*/ 33566 w 84485"/>
                    <a:gd name="connsiteY6" fmla="*/ 0 h 373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85" h="373754">
                      <a:moveTo>
                        <a:pt x="33566" y="0"/>
                      </a:moveTo>
                      <a:lnTo>
                        <a:pt x="84231" y="346104"/>
                      </a:lnTo>
                      <a:cubicBezTo>
                        <a:pt x="85941" y="358075"/>
                        <a:pt x="78887" y="370047"/>
                        <a:pt x="67129" y="373040"/>
                      </a:cubicBezTo>
                      <a:cubicBezTo>
                        <a:pt x="61998" y="374323"/>
                        <a:pt x="56440" y="374109"/>
                        <a:pt x="50454" y="370474"/>
                      </a:cubicBezTo>
                      <a:cubicBezTo>
                        <a:pt x="43186" y="366199"/>
                        <a:pt x="38697" y="358289"/>
                        <a:pt x="37628" y="349952"/>
                      </a:cubicBezTo>
                      <a:lnTo>
                        <a:pt x="3" y="35059"/>
                      </a:lnTo>
                      <a:cubicBezTo>
                        <a:pt x="-211" y="35273"/>
                        <a:pt x="11547" y="9834"/>
                        <a:pt x="33566" y="0"/>
                      </a:cubicBezTo>
                      <a:close/>
                    </a:path>
                  </a:pathLst>
                </a:custGeom>
                <a:solidFill>
                  <a:srgbClr val="6D6D6D"/>
                </a:solidFill>
                <a:ln w="21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sp>
            <p:nvSpPr>
              <p:cNvPr id="1522" name="Freeform: Shape 1521">
                <a:extLst>
                  <a:ext uri="{FF2B5EF4-FFF2-40B4-BE49-F238E27FC236}">
                    <a16:creationId xmlns:a16="http://schemas.microsoft.com/office/drawing/2014/main" id="{0024A21E-DB09-4A0A-846B-5B990428F4E4}"/>
                  </a:ext>
                </a:extLst>
              </p:cNvPr>
              <p:cNvSpPr/>
              <p:nvPr/>
            </p:nvSpPr>
            <p:spPr>
              <a:xfrm flipV="1">
                <a:off x="4247950" y="2928938"/>
                <a:ext cx="1329081" cy="300787"/>
              </a:xfrm>
              <a:custGeom>
                <a:avLst/>
                <a:gdLst>
                  <a:gd name="connsiteX0" fmla="*/ 933450 w 933450"/>
                  <a:gd name="connsiteY0" fmla="*/ 0 h 250031"/>
                  <a:gd name="connsiteX1" fmla="*/ 188119 w 933450"/>
                  <a:gd name="connsiteY1" fmla="*/ 0 h 250031"/>
                  <a:gd name="connsiteX2" fmla="*/ 188119 w 933450"/>
                  <a:gd name="connsiteY2" fmla="*/ 250031 h 250031"/>
                  <a:gd name="connsiteX3" fmla="*/ 0 w 933450"/>
                  <a:gd name="connsiteY3" fmla="*/ 250031 h 250031"/>
                </a:gdLst>
                <a:ahLst/>
                <a:cxnLst>
                  <a:cxn ang="0">
                    <a:pos x="connsiteX0" y="connsiteY0"/>
                  </a:cxn>
                  <a:cxn ang="0">
                    <a:pos x="connsiteX1" y="connsiteY1"/>
                  </a:cxn>
                  <a:cxn ang="0">
                    <a:pos x="connsiteX2" y="connsiteY2"/>
                  </a:cxn>
                  <a:cxn ang="0">
                    <a:pos x="connsiteX3" y="connsiteY3"/>
                  </a:cxn>
                </a:cxnLst>
                <a:rect l="l" t="t" r="r" b="b"/>
                <a:pathLst>
                  <a:path w="933450" h="250031">
                    <a:moveTo>
                      <a:pt x="933450" y="0"/>
                    </a:moveTo>
                    <a:lnTo>
                      <a:pt x="188119" y="0"/>
                    </a:lnTo>
                    <a:lnTo>
                      <a:pt x="188119" y="250031"/>
                    </a:lnTo>
                    <a:lnTo>
                      <a:pt x="0" y="250031"/>
                    </a:lnTo>
                  </a:path>
                </a:pathLst>
              </a:custGeom>
              <a:noFill/>
              <a:ln w="6350" cap="flat">
                <a:solidFill>
                  <a:srgbClr val="FF0000"/>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23" name="Freeform: Shape 1522">
                <a:extLst>
                  <a:ext uri="{FF2B5EF4-FFF2-40B4-BE49-F238E27FC236}">
                    <a16:creationId xmlns:a16="http://schemas.microsoft.com/office/drawing/2014/main" id="{034999D4-A124-4E4C-B86C-F2B016128B8A}"/>
                  </a:ext>
                </a:extLst>
              </p:cNvPr>
              <p:cNvSpPr/>
              <p:nvPr/>
            </p:nvSpPr>
            <p:spPr>
              <a:xfrm>
                <a:off x="4210661" y="3043238"/>
                <a:ext cx="1352815" cy="457652"/>
              </a:xfrm>
              <a:custGeom>
                <a:avLst/>
                <a:gdLst>
                  <a:gd name="connsiteX0" fmla="*/ 0 w 950119"/>
                  <a:gd name="connsiteY0" fmla="*/ 0 h 147637"/>
                  <a:gd name="connsiteX1" fmla="*/ 271463 w 950119"/>
                  <a:gd name="connsiteY1" fmla="*/ 0 h 147637"/>
                  <a:gd name="connsiteX2" fmla="*/ 271463 w 950119"/>
                  <a:gd name="connsiteY2" fmla="*/ 147637 h 147637"/>
                  <a:gd name="connsiteX3" fmla="*/ 950119 w 950119"/>
                  <a:gd name="connsiteY3" fmla="*/ 147637 h 147637"/>
                </a:gdLst>
                <a:ahLst/>
                <a:cxnLst>
                  <a:cxn ang="0">
                    <a:pos x="connsiteX0" y="connsiteY0"/>
                  </a:cxn>
                  <a:cxn ang="0">
                    <a:pos x="connsiteX1" y="connsiteY1"/>
                  </a:cxn>
                  <a:cxn ang="0">
                    <a:pos x="connsiteX2" y="connsiteY2"/>
                  </a:cxn>
                  <a:cxn ang="0">
                    <a:pos x="connsiteX3" y="connsiteY3"/>
                  </a:cxn>
                </a:cxnLst>
                <a:rect l="l" t="t" r="r" b="b"/>
                <a:pathLst>
                  <a:path w="950119" h="147637">
                    <a:moveTo>
                      <a:pt x="0" y="0"/>
                    </a:moveTo>
                    <a:lnTo>
                      <a:pt x="271463" y="0"/>
                    </a:lnTo>
                    <a:lnTo>
                      <a:pt x="271463" y="147637"/>
                    </a:lnTo>
                    <a:lnTo>
                      <a:pt x="950119" y="147637"/>
                    </a:lnTo>
                  </a:path>
                </a:pathLst>
              </a:custGeom>
              <a:noFill/>
              <a:ln w="6350" cap="flat">
                <a:solidFill>
                  <a:schemeClr val="accent6"/>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sp>
            <p:nvSpPr>
              <p:cNvPr id="1524" name="Freeform: Shape 1523">
                <a:extLst>
                  <a:ext uri="{FF2B5EF4-FFF2-40B4-BE49-F238E27FC236}">
                    <a16:creationId xmlns:a16="http://schemas.microsoft.com/office/drawing/2014/main" id="{10995129-FF69-4378-A141-F133D37FCCDD}"/>
                  </a:ext>
                </a:extLst>
              </p:cNvPr>
              <p:cNvSpPr/>
              <p:nvPr/>
            </p:nvSpPr>
            <p:spPr>
              <a:xfrm flipV="1">
                <a:off x="4210661" y="3500890"/>
                <a:ext cx="1352815" cy="1181030"/>
              </a:xfrm>
              <a:custGeom>
                <a:avLst/>
                <a:gdLst>
                  <a:gd name="connsiteX0" fmla="*/ 0 w 950119"/>
                  <a:gd name="connsiteY0" fmla="*/ 0 h 147637"/>
                  <a:gd name="connsiteX1" fmla="*/ 271463 w 950119"/>
                  <a:gd name="connsiteY1" fmla="*/ 0 h 147637"/>
                  <a:gd name="connsiteX2" fmla="*/ 271463 w 950119"/>
                  <a:gd name="connsiteY2" fmla="*/ 147637 h 147637"/>
                  <a:gd name="connsiteX3" fmla="*/ 950119 w 950119"/>
                  <a:gd name="connsiteY3" fmla="*/ 147637 h 147637"/>
                </a:gdLst>
                <a:ahLst/>
                <a:cxnLst>
                  <a:cxn ang="0">
                    <a:pos x="connsiteX0" y="connsiteY0"/>
                  </a:cxn>
                  <a:cxn ang="0">
                    <a:pos x="connsiteX1" y="connsiteY1"/>
                  </a:cxn>
                  <a:cxn ang="0">
                    <a:pos x="connsiteX2" y="connsiteY2"/>
                  </a:cxn>
                  <a:cxn ang="0">
                    <a:pos x="connsiteX3" y="connsiteY3"/>
                  </a:cxn>
                </a:cxnLst>
                <a:rect l="l" t="t" r="r" b="b"/>
                <a:pathLst>
                  <a:path w="950119" h="147637">
                    <a:moveTo>
                      <a:pt x="0" y="0"/>
                    </a:moveTo>
                    <a:lnTo>
                      <a:pt x="271463" y="0"/>
                    </a:lnTo>
                    <a:lnTo>
                      <a:pt x="271463" y="147637"/>
                    </a:lnTo>
                    <a:lnTo>
                      <a:pt x="950119" y="147637"/>
                    </a:lnTo>
                  </a:path>
                </a:pathLst>
              </a:custGeom>
              <a:noFill/>
              <a:ln w="6350" cap="flat">
                <a:solidFill>
                  <a:schemeClr val="accent6"/>
                </a:solidFill>
                <a:prstDash val="dash"/>
                <a:miter lim="400000"/>
                <a:headEnd type="triangle" w="med" len="sm"/>
                <a:tailEnd type="none" w="med"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IntelOne Text" panose="020B0503020203020204" pitchFamily="34" charset="0"/>
                  <a:sym typeface="Helvetica Neue"/>
                </a:endParaRPr>
              </a:p>
            </p:txBody>
          </p:sp>
        </p:grpSp>
        <p:sp>
          <p:nvSpPr>
            <p:cNvPr id="2" name="Rectangle 1">
              <a:extLst>
                <a:ext uri="{FF2B5EF4-FFF2-40B4-BE49-F238E27FC236}">
                  <a16:creationId xmlns:a16="http://schemas.microsoft.com/office/drawing/2014/main" id="{26629709-04E6-4C4C-96E5-833EF354D284}"/>
                </a:ext>
              </a:extLst>
            </p:cNvPr>
            <p:cNvSpPr/>
            <p:nvPr/>
          </p:nvSpPr>
          <p:spPr>
            <a:xfrm>
              <a:off x="3719484" y="2626897"/>
              <a:ext cx="5715172" cy="3677896"/>
            </a:xfrm>
            <a:prstGeom prst="rect">
              <a:avLst/>
            </a:prstGeom>
            <a:noFill/>
            <a:ln w="12700" cap="flat">
              <a:solidFill>
                <a:srgbClr val="BABABA"/>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pSp>
      <p:sp>
        <p:nvSpPr>
          <p:cNvPr id="101" name="Text Placeholder 49" descr="Target Vertical: &#10;Retail&#10;Secondary Vertical:&#10;Banking/Financial Services, Hospitality, Transportation, Cooperative Neighborhood&#10;">
            <a:extLst>
              <a:ext uri="{FF2B5EF4-FFF2-40B4-BE49-F238E27FC236}">
                <a16:creationId xmlns:a16="http://schemas.microsoft.com/office/drawing/2014/main" id="{E04BEC2D-D2F0-43E1-BEA2-372997463E7A}"/>
              </a:ext>
            </a:extLst>
          </p:cNvPr>
          <p:cNvSpPr txBox="1">
            <a:spLocks/>
          </p:cNvSpPr>
          <p:nvPr/>
        </p:nvSpPr>
        <p:spPr>
          <a:xfrm>
            <a:off x="9630134" y="2073410"/>
            <a:ext cx="1857018" cy="1084912"/>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rPr>
              <a:t>Target Vertical: </a:t>
            </a:r>
          </a:p>
          <a:p>
            <a:pPr marL="0" marR="0" lvl="0" indent="0" algn="l" defTabSz="914400" rtl="0" eaLnBrk="1" fontAlgn="auto" latinLnBrk="0" hangingPunct="0">
              <a:lnSpc>
                <a:spcPct val="100000"/>
              </a:lnSpc>
              <a:spcBef>
                <a:spcPts val="0"/>
              </a:spcBef>
              <a:spcAft>
                <a:spcPts val="100"/>
              </a:spcAft>
              <a:buClrTx/>
              <a:buSzTx/>
              <a:buFont typeface="Wingdings" pitchFamily="2" charset="2"/>
              <a:buNone/>
              <a:tabLst/>
              <a:defRPr/>
            </a:pPr>
            <a:r>
              <a:rPr kumimoji="0" lang="en-US" sz="105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hlinkClick r:id="" action="ppaction://noaction">
                  <a:extLst>
                    <a:ext uri="{A12FA001-AC4F-418D-AE19-62706E023703}">
                      <ahyp:hlinkClr xmlns:ahyp="http://schemas.microsoft.com/office/drawing/2018/hyperlinkcolor" val="tx"/>
                    </a:ext>
                  </a:extLst>
                </a:hlinkClick>
              </a:rPr>
              <a:t>Retail</a:t>
            </a:r>
            <a:endParaRPr kumimoji="0" lang="en-US" sz="105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endParaRPr>
          </a:p>
          <a:p>
            <a:pPr marL="0" marR="0" lvl="0" indent="0" algn="l" defTabSz="914400" rtl="0" eaLnBrk="1" fontAlgn="auto" latinLnBrk="0" hangingPunct="0">
              <a:lnSpc>
                <a:spcPct val="100000"/>
              </a:lnSpc>
              <a:spcBef>
                <a:spcPts val="600"/>
              </a:spcBef>
              <a:spcAft>
                <a:spcPts val="100"/>
              </a:spcAft>
              <a:buClrTx/>
              <a:buSzTx/>
              <a:buFont typeface="Wingdings" pitchFamily="2" charset="2"/>
              <a:buNone/>
              <a:tabLst/>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a:rPr>
              <a:t>Secondary Vertic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hlinkClick r:id="" action="ppaction://noaction">
                  <a:extLst>
                    <a:ext uri="{A12FA001-AC4F-418D-AE19-62706E023703}">
                      <ahyp:hlinkClr xmlns:ahyp="http://schemas.microsoft.com/office/drawing/2018/hyperlinkcolor" val="tx"/>
                    </a:ext>
                  </a:extLst>
                </a:hlinkClick>
              </a:rPr>
              <a:t>Banking/Financial Services</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hlinkClick r:id="" action="ppaction://noaction">
                  <a:extLst>
                    <a:ext uri="{A12FA001-AC4F-418D-AE19-62706E023703}">
                      <ahyp:hlinkClr xmlns:ahyp="http://schemas.microsoft.com/office/drawing/2018/hyperlinkcolor" val="tx"/>
                    </a:ext>
                  </a:extLst>
                </a:hlinkClick>
              </a:rPr>
              <a:t>Hospitality</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 </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hlinkClick r:id="" action="ppaction://noaction">
                  <a:extLst>
                    <a:ext uri="{A12FA001-AC4F-418D-AE19-62706E023703}">
                      <ahyp:hlinkClr xmlns:ahyp="http://schemas.microsoft.com/office/drawing/2018/hyperlinkcolor" val="tx"/>
                    </a:ext>
                  </a:extLst>
                </a:hlinkClick>
              </a:rPr>
              <a:t>Transportation</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 Cooperative Neighborhood</a:t>
            </a:r>
          </a:p>
        </p:txBody>
      </p:sp>
      <p:sp>
        <p:nvSpPr>
          <p:cNvPr id="111" name="Text Placeholder 49" descr="Target Use Case: &#10;Situational Monitoring&#10;">
            <a:extLst>
              <a:ext uri="{FF2B5EF4-FFF2-40B4-BE49-F238E27FC236}">
                <a16:creationId xmlns:a16="http://schemas.microsoft.com/office/drawing/2014/main" id="{DD363DEC-D4FC-4DF9-826C-2B0B4630B1D8}"/>
              </a:ext>
            </a:extLst>
          </p:cNvPr>
          <p:cNvSpPr txBox="1">
            <a:spLocks/>
          </p:cNvSpPr>
          <p:nvPr/>
        </p:nvSpPr>
        <p:spPr>
          <a:xfrm>
            <a:off x="9630133" y="3483103"/>
            <a:ext cx="1857018" cy="335989"/>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9144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120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rPr>
              <a:t>Target Use Case: </a:t>
            </a:r>
          </a:p>
          <a:p>
            <a:pPr marL="0" marR="0" lvl="0" indent="0" algn="l" defTabSz="914400" rtl="0" eaLnBrk="1" fontAlgn="auto" latinLnBrk="0" hangingPunct="0">
              <a:lnSpc>
                <a:spcPct val="100000"/>
              </a:lnSpc>
              <a:spcBef>
                <a:spcPts val="0"/>
              </a:spcBef>
              <a:spcAft>
                <a:spcPts val="100"/>
              </a:spcAft>
              <a:buClrTx/>
              <a:buSzTx/>
              <a:buFont typeface="Wingdings" pitchFamily="2" charset="2"/>
              <a:buNone/>
              <a:tabLst/>
              <a:defRPr/>
            </a:pPr>
            <a:r>
              <a:rPr kumimoji="0" lang="en-US" sz="105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hlinkClick r:id="" action="ppaction://noaction">
                  <a:extLst>
                    <a:ext uri="{A12FA001-AC4F-418D-AE19-62706E023703}">
                      <ahyp:hlinkClr xmlns:ahyp="http://schemas.microsoft.com/office/drawing/2018/hyperlinkcolor" val="tx"/>
                    </a:ext>
                  </a:extLst>
                </a:hlinkClick>
              </a:rPr>
              <a:t>Situational Monitoring</a:t>
            </a:r>
            <a:endParaRPr kumimoji="0" lang="en-US" sz="105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Neue"/>
            </a:endParaRPr>
          </a:p>
        </p:txBody>
      </p:sp>
      <p:sp>
        <p:nvSpPr>
          <p:cNvPr id="113" name="Text Placeholder 49" descr="Geo Availability&#10;Global&#10;">
            <a:extLst>
              <a:ext uri="{FF2B5EF4-FFF2-40B4-BE49-F238E27FC236}">
                <a16:creationId xmlns:a16="http://schemas.microsoft.com/office/drawing/2014/main" id="{4A428055-5461-453F-B764-497123552B09}"/>
              </a:ext>
            </a:extLst>
          </p:cNvPr>
          <p:cNvSpPr txBox="1">
            <a:spLocks/>
          </p:cNvSpPr>
          <p:nvPr/>
        </p:nvSpPr>
        <p:spPr>
          <a:xfrm>
            <a:off x="9630134" y="4467038"/>
            <a:ext cx="1857018" cy="335989"/>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100"/>
              </a:spcAft>
              <a:buClrTx/>
              <a:buSzTx/>
              <a:buFont typeface="Wingdings" pitchFamily="2" charset="2"/>
              <a:buNone/>
              <a:tabLst/>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Geo Availability</a:t>
            </a:r>
          </a:p>
          <a:p>
            <a:pPr marL="0" marR="0" lvl="0" indent="0" algn="l" defTabSz="914400" rtl="0" eaLnBrk="1" fontAlgn="auto" latinLnBrk="0" hangingPunct="0">
              <a:lnSpc>
                <a:spcPct val="100000"/>
              </a:lnSpc>
              <a:spcBef>
                <a:spcPts val="0"/>
              </a:spcBef>
              <a:spcAft>
                <a:spcPts val="100"/>
              </a:spcAft>
              <a:buClrTx/>
              <a:buSzTx/>
              <a:buFont typeface="Wingdings" pitchFamily="2" charset="2"/>
              <a:buNone/>
              <a:tabLst/>
              <a:defRPr/>
            </a:pPr>
            <a:r>
              <a:rPr kumimoji="0" lang="en-US" sz="1050" b="0"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Global</a:t>
            </a:r>
          </a:p>
        </p:txBody>
      </p:sp>
      <p:sp>
        <p:nvSpPr>
          <p:cNvPr id="115" name="TextBox 114" descr="Learn More&#10;Digifort website&#10;Digifort Cloud webpage (Portuguese)&#10;">
            <a:extLst>
              <a:ext uri="{FF2B5EF4-FFF2-40B4-BE49-F238E27FC236}">
                <a16:creationId xmlns:a16="http://schemas.microsoft.com/office/drawing/2014/main" id="{AB71C1A8-209F-4D3A-8928-22458CEE6654}"/>
              </a:ext>
            </a:extLst>
          </p:cNvPr>
          <p:cNvSpPr txBox="1"/>
          <p:nvPr/>
        </p:nvSpPr>
        <p:spPr>
          <a:xfrm>
            <a:off x="9630133" y="5450973"/>
            <a:ext cx="1770946" cy="6591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1219169" rtl="0" eaLnBrk="1" fontAlgn="auto" latinLnBrk="0" hangingPunct="0">
              <a:lnSpc>
                <a:spcPct val="100000"/>
              </a:lnSpc>
              <a:spcBef>
                <a:spcPts val="0"/>
              </a:spcBef>
              <a:spcAft>
                <a:spcPts val="100"/>
              </a:spcAft>
              <a:buClrTx/>
              <a:buSzTx/>
              <a:buFontTx/>
              <a:buNone/>
              <a:tabLst/>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Learn More</a:t>
            </a: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err="1">
                <a:ln>
                  <a:noFill/>
                </a:ln>
                <a:solidFill>
                  <a:srgbClr val="525252"/>
                </a:solidFill>
                <a:effectLst/>
                <a:uLnTx/>
                <a:uFillTx/>
                <a:latin typeface="IntelOne Text" panose="020B0503020203020204" pitchFamily="34" charset="0"/>
                <a:sym typeface="Helvetica Neue"/>
                <a:hlinkClick r:id="rId8">
                  <a:extLst>
                    <a:ext uri="{A12FA001-AC4F-418D-AE19-62706E023703}">
                      <ahyp:hlinkClr xmlns:ahyp="http://schemas.microsoft.com/office/drawing/2018/hyperlinkcolor" val="tx"/>
                    </a:ext>
                  </a:extLst>
                </a:hlinkClick>
              </a:rPr>
              <a:t>Digifort</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hlinkClick r:id="rId8">
                  <a:extLst>
                    <a:ext uri="{A12FA001-AC4F-418D-AE19-62706E023703}">
                      <ahyp:hlinkClr xmlns:ahyp="http://schemas.microsoft.com/office/drawing/2018/hyperlinkcolor" val="tx"/>
                    </a:ext>
                  </a:extLst>
                </a:hlinkClick>
              </a:rPr>
              <a:t> website</a:t>
            </a: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a:p>
            <a:pPr marL="109728" marR="0" lvl="1" indent="-109728" algn="l" defTabSz="914400" rtl="0" eaLnBrk="1" fontAlgn="ctr" latinLnBrk="0" hangingPunct="1">
              <a:lnSpc>
                <a:spcPct val="100000"/>
              </a:lnSpc>
              <a:spcBef>
                <a:spcPts val="0"/>
              </a:spcBef>
              <a:spcAft>
                <a:spcPts val="0"/>
              </a:spcAft>
              <a:buClrTx/>
              <a:buSzTx/>
              <a:buFont typeface="Wingdings" panose="05000000000000000000" pitchFamily="2" charset="2"/>
              <a:buChar char="§"/>
              <a:tabLst/>
              <a:defRPr/>
            </a:pPr>
            <a:r>
              <a:rPr kumimoji="0" lang="en-US" sz="1050" b="0" i="0" u="none" strike="noStrike" kern="1200" cap="none" spc="0" normalizeH="0" baseline="0" noProof="0" err="1">
                <a:ln>
                  <a:noFill/>
                </a:ln>
                <a:solidFill>
                  <a:srgbClr val="525252"/>
                </a:solidFill>
                <a:effectLst/>
                <a:uLnTx/>
                <a:uFillTx/>
                <a:latin typeface="IntelOne Text" panose="020B0503020203020204" pitchFamily="34" charset="0"/>
                <a:sym typeface="Helvetica Neue"/>
                <a:hlinkClick r:id="rId9">
                  <a:extLst>
                    <a:ext uri="{A12FA001-AC4F-418D-AE19-62706E023703}">
                      <ahyp:hlinkClr xmlns:ahyp="http://schemas.microsoft.com/office/drawing/2018/hyperlinkcolor" val="tx"/>
                    </a:ext>
                  </a:extLst>
                </a:hlinkClick>
              </a:rPr>
              <a:t>Digifort</a:t>
            </a:r>
            <a:r>
              <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hlinkClick r:id="rId9">
                  <a:extLst>
                    <a:ext uri="{A12FA001-AC4F-418D-AE19-62706E023703}">
                      <ahyp:hlinkClr xmlns:ahyp="http://schemas.microsoft.com/office/drawing/2018/hyperlinkcolor" val="tx"/>
                    </a:ext>
                  </a:extLst>
                </a:hlinkClick>
              </a:rPr>
              <a:t> Cloud webpage (Portuguese)</a:t>
            </a:r>
            <a:endParaRPr kumimoji="0" lang="en-US" sz="10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sym typeface="Helvetica Neue"/>
            </a:endParaRPr>
          </a:p>
        </p:txBody>
      </p:sp>
      <p:sp>
        <p:nvSpPr>
          <p:cNvPr id="13" name="Title 12">
            <a:extLst>
              <a:ext uri="{FF2B5EF4-FFF2-40B4-BE49-F238E27FC236}">
                <a16:creationId xmlns:a16="http://schemas.microsoft.com/office/drawing/2014/main" id="{6E642A13-7721-4F38-9CC3-F0F007DA1777}"/>
              </a:ext>
            </a:extLst>
          </p:cNvPr>
          <p:cNvSpPr>
            <a:spLocks noGrp="1"/>
          </p:cNvSpPr>
          <p:nvPr>
            <p:ph type="title"/>
          </p:nvPr>
        </p:nvSpPr>
        <p:spPr/>
        <p:txBody>
          <a:bodyPr/>
          <a:lstStyle/>
          <a:p>
            <a:pPr rtl="0"/>
            <a:r>
              <a:rPr kumimoji="0" lang="en-US" sz="3200" b="0" i="0" u="none" strike="noStrike" kern="0" cap="none" spc="0" normalizeH="0" baseline="0" noProof="0" err="1">
                <a:ln>
                  <a:noFill/>
                </a:ln>
                <a:solidFill>
                  <a:srgbClr val="FFFFFF"/>
                </a:solidFill>
                <a:effectLst/>
                <a:uLnTx/>
                <a:uFillTx/>
                <a:ea typeface="Intel Clear Light" panose="020B0404020203020204" pitchFamily="34" charset="0"/>
                <a:cs typeface="Intel Clear Light" panose="020B0404020203020204" pitchFamily="34" charset="0"/>
                <a:sym typeface="Helvetica"/>
              </a:rPr>
              <a:t>Digifort</a:t>
            </a:r>
            <a:r>
              <a:rPr kumimoji="0" lang="en-US" sz="3200" b="0" i="0" u="none" strike="noStrike" kern="0" cap="none" spc="0" normalizeH="0" baseline="0" noProof="0">
                <a:ln>
                  <a:noFill/>
                </a:ln>
                <a:solidFill>
                  <a:srgbClr val="FFFFFF"/>
                </a:solidFill>
                <a:effectLst/>
                <a:uLnTx/>
                <a:uFillTx/>
                <a:ea typeface="Intel Clear Light" panose="020B0404020203020204" pitchFamily="34" charset="0"/>
                <a:cs typeface="Intel Clear Light" panose="020B0404020203020204" pitchFamily="34" charset="0"/>
                <a:sym typeface="Helvetica"/>
              </a:rPr>
              <a:t> IP Security System </a:t>
            </a:r>
            <a:r>
              <a:rPr kumimoji="0" lang="en-US" sz="3200" b="0" i="0" u="none" strike="noStrike" kern="0" cap="none" spc="0" normalizeH="0" baseline="0" noProof="0" err="1">
                <a:ln>
                  <a:noFill/>
                </a:ln>
                <a:solidFill>
                  <a:srgbClr val="FFFFFF"/>
                </a:solidFill>
                <a:effectLst/>
                <a:uLnTx/>
                <a:uFillTx/>
                <a:ea typeface="Intel Clear Light" panose="020B0404020203020204" pitchFamily="34" charset="0"/>
                <a:cs typeface="Intel Clear Light" panose="020B0404020203020204" pitchFamily="34" charset="0"/>
                <a:sym typeface="Helvetica"/>
              </a:rPr>
              <a:t>Digifort</a:t>
            </a:r>
            <a:r>
              <a:rPr kumimoji="0" lang="en-US" sz="3200" b="0" i="0" u="none" strike="noStrike" kern="0" cap="none" spc="0" normalizeH="0" baseline="0" noProof="0">
                <a:ln>
                  <a:noFill/>
                </a:ln>
                <a:solidFill>
                  <a:srgbClr val="FFFFFF"/>
                </a:solidFill>
                <a:effectLst/>
                <a:uLnTx/>
                <a:uFillTx/>
                <a:ea typeface="Intel Clear Light" panose="020B0404020203020204" pitchFamily="34" charset="0"/>
                <a:cs typeface="Intel Clear Light" panose="020B0404020203020204" pitchFamily="34" charset="0"/>
                <a:sym typeface="Helvetica"/>
              </a:rPr>
              <a:t> Cloud</a:t>
            </a:r>
            <a:endParaRPr lang="en-US"/>
          </a:p>
        </p:txBody>
      </p:sp>
      <p:sp>
        <p:nvSpPr>
          <p:cNvPr id="720" name="Rectangle 719">
            <a:hlinkClick r:id="" action="ppaction://noaction"/>
            <a:extLst>
              <a:ext uri="{FF2B5EF4-FFF2-40B4-BE49-F238E27FC236}">
                <a16:creationId xmlns:a16="http://schemas.microsoft.com/office/drawing/2014/main" id="{035AE241-0671-4777-AE84-40D15D58CF67}"/>
              </a:ext>
              <a:ext uri="{C183D7F6-B498-43B3-948B-1728B52AA6E4}">
                <adec:decorative xmlns:adec="http://schemas.microsoft.com/office/drawing/2017/decorative" val="1"/>
              </a:ext>
            </a:extLst>
          </p:cNvPr>
          <p:cNvSpPr/>
          <p:nvPr/>
        </p:nvSpPr>
        <p:spPr>
          <a:xfrm>
            <a:off x="9486777" y="122528"/>
            <a:ext cx="1527831"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alpha val="90000"/>
                </a:prstClr>
              </a:solidFill>
              <a:effectLst/>
              <a:uLnTx/>
              <a:uFillTx/>
              <a:latin typeface="IntelOne Text" panose="020B0503020203020204" pitchFamily="34" charset="0"/>
              <a:ea typeface="+mn-ea"/>
              <a:cs typeface="+mn-cs"/>
              <a:sym typeface="Helvetica Neue"/>
            </a:endParaRPr>
          </a:p>
        </p:txBody>
      </p:sp>
      <p:sp>
        <p:nvSpPr>
          <p:cNvPr id="722" name="Rectangle 721">
            <a:hlinkClick r:id="" action="ppaction://noaction"/>
            <a:extLst>
              <a:ext uri="{FF2B5EF4-FFF2-40B4-BE49-F238E27FC236}">
                <a16:creationId xmlns:a16="http://schemas.microsoft.com/office/drawing/2014/main" id="{868FC818-43AC-45F0-B29D-583CF8E830F6}"/>
              </a:ext>
              <a:ext uri="{C183D7F6-B498-43B3-948B-1728B52AA6E4}">
                <adec:decorative xmlns:adec="http://schemas.microsoft.com/office/drawing/2017/decorative" val="1"/>
              </a:ext>
            </a:extLst>
          </p:cNvPr>
          <p:cNvSpPr/>
          <p:nvPr/>
        </p:nvSpPr>
        <p:spPr>
          <a:xfrm>
            <a:off x="8074311" y="122528"/>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alpha val="90000"/>
                </a:prstClr>
              </a:solidFill>
              <a:effectLst/>
              <a:uLnTx/>
              <a:uFillTx/>
              <a:latin typeface="IntelOne Text" panose="020B0503020203020204" pitchFamily="34" charset="0"/>
              <a:ea typeface="+mn-ea"/>
              <a:cs typeface="+mn-cs"/>
              <a:sym typeface="Helvetica Neue"/>
            </a:endParaRPr>
          </a:p>
        </p:txBody>
      </p:sp>
      <p:sp>
        <p:nvSpPr>
          <p:cNvPr id="723" name="Rectangle 722">
            <a:hlinkClick r:id="" action="ppaction://noaction"/>
            <a:extLst>
              <a:ext uri="{FF2B5EF4-FFF2-40B4-BE49-F238E27FC236}">
                <a16:creationId xmlns:a16="http://schemas.microsoft.com/office/drawing/2014/main" id="{DF9A646D-8E5D-432C-83A5-E3373EE7F7BF}"/>
              </a:ext>
            </a:extLst>
          </p:cNvPr>
          <p:cNvSpPr/>
          <p:nvPr/>
        </p:nvSpPr>
        <p:spPr>
          <a:xfrm>
            <a:off x="8115299" y="161209"/>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Retail Solutions</a:t>
            </a:r>
          </a:p>
        </p:txBody>
      </p:sp>
      <p:sp>
        <p:nvSpPr>
          <p:cNvPr id="724" name="Rectangle 723">
            <a:hlinkClick r:id="" action="ppaction://noaction"/>
            <a:extLst>
              <a:ext uri="{FF2B5EF4-FFF2-40B4-BE49-F238E27FC236}">
                <a16:creationId xmlns:a16="http://schemas.microsoft.com/office/drawing/2014/main" id="{BB9C5E53-7876-4855-96AB-5A01F9EEDCA4}"/>
              </a:ext>
            </a:extLst>
          </p:cNvPr>
          <p:cNvSpPr/>
          <p:nvPr/>
        </p:nvSpPr>
        <p:spPr>
          <a:xfrm>
            <a:off x="9527381" y="161209"/>
            <a:ext cx="1440657"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a:t>
            </a:r>
            <a:b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b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Situational Monitoring Solutions</a:t>
            </a:r>
          </a:p>
        </p:txBody>
      </p:sp>
      <p:sp>
        <p:nvSpPr>
          <p:cNvPr id="725" name="Rectangle 46" descr="Back to the home page with document use instructions">
            <a:hlinkClick r:id="" action="ppaction://noaction"/>
            <a:extLst>
              <a:ext uri="{FF2B5EF4-FFF2-40B4-BE49-F238E27FC236}">
                <a16:creationId xmlns:a16="http://schemas.microsoft.com/office/drawing/2014/main" id="{CF2E7B2E-C416-43EC-B450-0C65ECB0D2DF}"/>
              </a:ext>
            </a:extLst>
          </p:cNvPr>
          <p:cNvSpPr/>
          <p:nvPr/>
        </p:nvSpPr>
        <p:spPr bwMode="auto">
          <a:xfrm>
            <a:off x="11091622" y="120748"/>
            <a:ext cx="449504" cy="40079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1218768"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One Text" panose="020B0503020203020204" pitchFamily="34" charset="0"/>
              <a:ea typeface="Segoe UI" pitchFamily="34" charset="0"/>
              <a:cs typeface="Segoe UI" pitchFamily="34" charset="0"/>
              <a:sym typeface="Helvetica Neue"/>
            </a:endParaRPr>
          </a:p>
        </p:txBody>
      </p:sp>
    </p:spTree>
    <p:extLst>
      <p:ext uri="{BB962C8B-B14F-4D97-AF65-F5344CB8AC3E}">
        <p14:creationId xmlns:p14="http://schemas.microsoft.com/office/powerpoint/2010/main" val="34601470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4_BasicWhite">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Custom 11">
      <a:majorFont>
        <a:latin typeface="Intel Clear Light"/>
        <a:ea typeface="Helvetica Neue"/>
        <a:cs typeface="Helvetica Neue"/>
      </a:majorFont>
      <a:minorFont>
        <a:latin typeface="Intel Clear"/>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none" lIns="0" tIns="0" rIns="0" bIns="0" numCol="1" spcCol="38100" rtlCol="0" anchor="t" anchorCtr="0">
        <a:spAutoFit/>
      </a:bodyPr>
      <a:lstStyle>
        <a:defPPr marL="0" marR="0" indent="0" algn="l" defTabSz="2438338" rtl="0" fontAlgn="auto" latinLnBrk="0" hangingPunct="0">
          <a:lnSpc>
            <a:spcPct val="100000"/>
          </a:lnSpc>
          <a:spcBef>
            <a:spcPts val="0"/>
          </a:spcBef>
          <a:spcAft>
            <a:spcPts val="0"/>
          </a:spcAft>
          <a:buClrTx/>
          <a:buSzTx/>
          <a:buFontTx/>
          <a:buNone/>
          <a:tabLst/>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0</TotalTime>
  <Words>227</Words>
  <Application>Microsoft Office PowerPoint</Application>
  <PresentationFormat>Widescreen</PresentationFormat>
  <Paragraphs>43</Paragraphs>
  <Slides>1</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ptos</vt:lpstr>
      <vt:lpstr>Arial</vt:lpstr>
      <vt:lpstr>Helvetica</vt:lpstr>
      <vt:lpstr>Helvetica Neue Medium</vt:lpstr>
      <vt:lpstr>Intel Clear Light</vt:lpstr>
      <vt:lpstr>IntelOne Display Light</vt:lpstr>
      <vt:lpstr>IntelOne Text</vt:lpstr>
      <vt:lpstr>Wingdings</vt:lpstr>
      <vt:lpstr>34_BasicWhite</vt:lpstr>
      <vt:lpstr>think-cell Slide</vt:lpstr>
      <vt:lpstr>Digifort IP Security System Digifort Clou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emont, Lesek</dc:creator>
  <cp:lastModifiedBy>Demont, Lesek</cp:lastModifiedBy>
  <cp:revision>1</cp:revision>
  <dcterms:created xsi:type="dcterms:W3CDTF">2025-04-02T16:00:56Z</dcterms:created>
  <dcterms:modified xsi:type="dcterms:W3CDTF">2025-04-02T16:01:17Z</dcterms:modified>
</cp:coreProperties>
</file>